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comments/comment1.xml" ContentType="application/vnd.openxmlformats-officedocument.presentationml.comment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3.xml" ContentType="application/vnd.openxmlformats-officedocument.presentationml.notesSlide+xml"/>
  <Override PartName="/ppt/comments/comment2.xml" ContentType="application/vnd.openxmlformats-officedocument.presentationml.comment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4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comments/comment3.xml" ContentType="application/vnd.openxmlformats-officedocument.presentationml.comments+xml"/>
  <Override PartName="/ppt/tags/tag128.xml" ContentType="application/vnd.openxmlformats-officedocument.presentationml.tags+xml"/>
  <Override PartName="/ppt/notesSlides/notesSlide6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7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8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heme/themeOverride1.xml" ContentType="application/vnd.openxmlformats-officedocument.themeOverr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9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</p:sldMasterIdLst>
  <p:notesMasterIdLst>
    <p:notesMasterId r:id="rId16"/>
  </p:notesMasterIdLst>
  <p:handoutMasterIdLst>
    <p:handoutMasterId r:id="rId17"/>
  </p:handoutMasterIdLst>
  <p:sldIdLst>
    <p:sldId id="333" r:id="rId2"/>
    <p:sldId id="1186" r:id="rId3"/>
    <p:sldId id="453" r:id="rId4"/>
    <p:sldId id="1113" r:id="rId5"/>
    <p:sldId id="1066" r:id="rId6"/>
    <p:sldId id="1189" r:id="rId7"/>
    <p:sldId id="1177" r:id="rId8"/>
    <p:sldId id="1057" r:id="rId9"/>
    <p:sldId id="1188" r:id="rId10"/>
    <p:sldId id="1185" r:id="rId11"/>
    <p:sldId id="427" r:id="rId12"/>
    <p:sldId id="1187" r:id="rId13"/>
    <p:sldId id="1110" r:id="rId14"/>
    <p:sldId id="1086" r:id="rId15"/>
  </p:sldIdLst>
  <p:sldSz cx="9901238" cy="6858000"/>
  <p:notesSz cx="6797675" cy="9926638"/>
  <p:custDataLst>
    <p:tags r:id="rId18"/>
  </p:custDataLst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orient="horz" pos="4065">
          <p15:clr>
            <a:srgbClr val="A4A3A4"/>
          </p15:clr>
        </p15:guide>
        <p15:guide id="3" pos="3077">
          <p15:clr>
            <a:srgbClr val="A4A3A4"/>
          </p15:clr>
        </p15:guide>
        <p15:guide id="4" pos="6112">
          <p15:clr>
            <a:srgbClr val="A4A3A4"/>
          </p15:clr>
        </p15:guide>
        <p15:guide id="5" pos="124">
          <p15:clr>
            <a:srgbClr val="A4A3A4"/>
          </p15:clr>
        </p15:guide>
        <p15:guide id="6" pos="316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y Müller" initials="KM" lastIdx="4" clrIdx="0">
    <p:extLst>
      <p:ext uri="{19B8F6BF-5375-455C-9EA6-DF929625EA0E}">
        <p15:presenceInfo xmlns:p15="http://schemas.microsoft.com/office/powerpoint/2012/main" userId="S::Kay.Mueller@deutschebahn.com::a8d094de-52dc-4550-9dc7-e5c6e1c7d0f7" providerId="AD"/>
      </p:ext>
    </p:extLst>
  </p:cmAuthor>
  <p:cmAuthor id="2" name="Julian Beck" initials="JB" lastIdx="3" clrIdx="1">
    <p:extLst>
      <p:ext uri="{19B8F6BF-5375-455C-9EA6-DF929625EA0E}">
        <p15:presenceInfo xmlns:p15="http://schemas.microsoft.com/office/powerpoint/2012/main" userId="S::Julian.Beck@deutschebahn.com::95e57bdb-8fee-4146-8197-68ad83640fb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0066"/>
    <a:srgbClr val="878C96"/>
    <a:srgbClr val="FFFFFF"/>
    <a:srgbClr val="F0CD0A"/>
    <a:srgbClr val="E67800"/>
    <a:srgbClr val="8CB90F"/>
    <a:srgbClr val="004B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794" autoAdjust="0"/>
    <p:restoredTop sz="74981" autoAdjust="0"/>
  </p:normalViewPr>
  <p:slideViewPr>
    <p:cSldViewPr>
      <p:cViewPr varScale="1">
        <p:scale>
          <a:sx n="85" d="100"/>
          <a:sy n="85" d="100"/>
        </p:scale>
        <p:origin x="1866" y="120"/>
      </p:cViewPr>
      <p:guideLst>
        <p:guide orient="horz" pos="799"/>
        <p:guide orient="horz" pos="4065"/>
        <p:guide pos="3077"/>
        <p:guide pos="6112"/>
        <p:guide pos="124"/>
        <p:guide pos="316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15T09:50:09.014" idx="1">
    <p:pos x="10" y="10"/>
    <p:text>Zdroj fotografie vyhledat a doplnit. Možná SMWA nebo BMVI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15T09:58:47.183" idx="2">
    <p:pos x="10" y="10"/>
    <p:text>Doplnit zdroj – Designhaus na zakázku DB?</p:text>
    <p:extLst>
      <p:ext uri="{C676402C-5697-4E1C-873F-D02D1690AC5C}">
        <p15:threadingInfo xmlns:p15="http://schemas.microsoft.com/office/powerpoint/2012/main" timeZoneBias="-60"/>
      </p:ext>
    </p:extLst>
  </p:cm>
  <p:cm authorId="2" dt="2019-11-18T09:20:38.493" idx="3">
    <p:pos x="10" y="146"/>
    <p:text>Grafika případně interní DB? Zdroj zatím nenalezen</p:text>
    <p:extLst>
      <p:ext uri="{C676402C-5697-4E1C-873F-D02D1690AC5C}">
        <p15:threadingInfo xmlns:p15="http://schemas.microsoft.com/office/powerpoint/2012/main" timeZoneBias="-60">
          <p15:parentCm authorId="1" idx="2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15T11:03:47.229" idx="4">
    <p:pos x="10" y="10"/>
    <p:text>Provedení doplnění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1-15T10:59:38.030" idx="3">
    <p:pos x="10" y="10"/>
    <p:text>Úprava a příp. doplnění</p:text>
    <p:extLst>
      <p:ext uri="{C676402C-5697-4E1C-873F-D02D1690AC5C}">
        <p15:threadingInfo xmlns:p15="http://schemas.microsoft.com/office/powerpoint/2012/main" timeZoneBias="-60"/>
      </p:ext>
    </p:extLst>
  </p:cm>
  <p:cm authorId="2" dt="2019-11-15T16:47:51.372" idx="2">
    <p:pos x="10" y="146"/>
    <p:text>Doplnění projížďky po trati vloženo. Na úpravě lze případně něco změnit, když vyjmete poslední měsíce. To by poněkud zkorigovalo znázornění.</p:text>
    <p:extLst>
      <p:ext uri="{C676402C-5697-4E1C-873F-D02D1690AC5C}">
        <p15:threadingInfo xmlns:p15="http://schemas.microsoft.com/office/powerpoint/2012/main" timeZoneBias="-60">
          <p15:parentCm authorId="1" idx="3"/>
        </p15:threadingInfo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2415" cy="532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402" y="0"/>
            <a:ext cx="2895596" cy="532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9396"/>
            <a:ext cx="2972415" cy="456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402" y="9449396"/>
            <a:ext cx="2895596" cy="456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0DC9D1D-6A0F-4167-A82D-5325A2C72B54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51521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764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912" y="0"/>
            <a:ext cx="2945763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4538"/>
            <a:ext cx="53721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8" y="4715153"/>
            <a:ext cx="498538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ie Formate des Vorlagentextes zu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306"/>
            <a:ext cx="2945764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DE" alt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912" y="9430306"/>
            <a:ext cx="2945763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6B1D083-96A8-46C7-8EDA-73D993B5915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276375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B1D083-96A8-46C7-8EDA-73D993B59158}" type="slidenum">
              <a:rPr lang="de-DE" altLang="de-DE" smtClean="0"/>
              <a:pPr/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223354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1E1A1F-7B51-4F6B-A0A6-8D7DEE98D432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3048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B1D083-96A8-46C7-8EDA-73D993B59158}" type="slidenum">
              <a:rPr lang="de-DE" altLang="de-DE" smtClean="0"/>
              <a:pPr/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09754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B1D083-96A8-46C7-8EDA-73D993B59158}" type="slidenum">
              <a:rPr lang="de-DE" altLang="de-DE" smtClean="0"/>
              <a:pPr/>
              <a:t>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9547287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DD – Ústí: 82 km </a:t>
            </a:r>
            <a:r>
              <a:rPr lang="cs-CZ">
                <a:sym typeface="Wingdings"/>
              </a:rPr>
              <a:t> 56 km</a:t>
            </a:r>
          </a:p>
          <a:p>
            <a:r>
              <a:rPr lang="cs-CZ">
                <a:sym typeface="Wingdings"/>
              </a:rPr>
              <a:t>Potenciál</a:t>
            </a:r>
          </a:p>
          <a:p>
            <a:pPr marL="171450" lvl="0" indent="-17145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0000"/>
                </a:solidFill>
                <a:ea typeface="Times New Roman"/>
                <a:cs typeface="Times New Roman"/>
              </a:rPr>
              <a:t>Turistika a dojíždění do práce</a:t>
            </a:r>
          </a:p>
          <a:p>
            <a:pPr marL="628650" lvl="1" indent="-17145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0000"/>
                </a:solidFill>
                <a:ea typeface="Times New Roman"/>
                <a:cs typeface="Times New Roman"/>
              </a:rPr>
              <a:t>V dálkové osobní dopravě lze dosáhnout snížení doby jízdy přibližně na 1 hodinu (z cca 2:15 h na cca 1:00 h)</a:t>
            </a:r>
          </a:p>
          <a:p>
            <a:pPr marL="171450" lvl="0" indent="-17145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0000"/>
                </a:solidFill>
                <a:ea typeface="Times New Roman"/>
                <a:cs typeface="Times New Roman"/>
              </a:rPr>
              <a:t>Více dopravy ze silnice na koleje</a:t>
            </a:r>
          </a:p>
          <a:p>
            <a:pPr marL="628650" lvl="1" indent="-17145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0000"/>
                </a:solidFill>
                <a:ea typeface="Times New Roman"/>
                <a:cs typeface="Times New Roman"/>
              </a:rPr>
              <a:t>Nový úsek tratě dokáže vyhovět vzrůstající poptávce po nákladní dopravě a převzít zvýšenou dopravní zátěž, která se v budoucnosti očekává. </a:t>
            </a:r>
          </a:p>
          <a:p>
            <a:pPr marL="171450" lvl="0" indent="-17145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0000"/>
                </a:solidFill>
                <a:ea typeface="Times New Roman"/>
                <a:cs typeface="Times New Roman"/>
              </a:rPr>
              <a:t>Životní prostředí</a:t>
            </a:r>
          </a:p>
          <a:p>
            <a:pPr marL="628650" lvl="1" indent="-17145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0000"/>
                </a:solidFill>
                <a:ea typeface="Times New Roman"/>
                <a:cs typeface="Times New Roman"/>
              </a:rPr>
              <a:t>Nákladní vlak o délce 740 m nahradí přibližně 50 nákladních vozidel. Nový úsek tratě tak přispěje ke snižování CO2 a emisí hluku. </a:t>
            </a:r>
          </a:p>
          <a:p>
            <a:pPr marL="171450" lvl="0" indent="-17145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0000"/>
                </a:solidFill>
                <a:ea typeface="Times New Roman"/>
                <a:cs typeface="Times New Roman"/>
              </a:rPr>
              <a:t>Rozvoj regionu</a:t>
            </a:r>
          </a:p>
          <a:p>
            <a:pPr marL="628650" lvl="1" indent="-17145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0000"/>
                </a:solidFill>
                <a:ea typeface="Times New Roman"/>
                <a:cs typeface="Times New Roman"/>
              </a:rPr>
              <a:t>Tento projekt nabízí jedinečnou šanci pro ekonomický, kulturní i turistický rozvoj regionu.</a:t>
            </a:r>
          </a:p>
          <a:p>
            <a:pPr marL="171450" lvl="0" indent="-17145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0000"/>
                </a:solidFill>
                <a:ea typeface="Times New Roman"/>
                <a:cs typeface="Times New Roman"/>
              </a:rPr>
              <a:t>Dostupnost</a:t>
            </a:r>
          </a:p>
          <a:p>
            <a:pPr marL="628650" lvl="1" indent="-17145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0000"/>
                </a:solidFill>
                <a:ea typeface="Times New Roman"/>
                <a:cs typeface="Times New Roman"/>
              </a:rPr>
              <a:t>Nový úsek tratě nabízí trasu </a:t>
            </a:r>
            <a:r>
              <a:rPr lang="cs-CZ">
                <a:ea typeface="Times New Roman"/>
                <a:cs typeface="Times New Roman"/>
              </a:rPr>
              <a:t>bezpečnou proti povodním, která může přinést odlehčení pro údolí Labe.</a:t>
            </a:r>
          </a:p>
          <a:p>
            <a:r>
              <a:rPr lang="cs-CZ">
                <a:sym typeface="Wingdings"/>
              </a:rPr>
              <a:t>Koridor 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800"/>
              <a:t>Evropský koridor TEN-V Orient/Východo-středomořský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cs-CZ" sz="800"/>
              <a:t>Spojuje německé přístavy Severního a Baltského moře s ekonomickými centry jihovýchodní Evrop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cs-CZ" kern="0">
                <a:solidFill>
                  <a:schemeClr val="tx1">
                    <a:lumMod val="50000"/>
                    <a:lumOff val="50000"/>
                  </a:schemeClr>
                </a:solidFill>
              </a:rPr>
              <a:t>Protíná přitom devět členských států Evropské unie – Německo, Českou republiku, Slovenskou republiku, Rakousko, Maďarsko, Rumunsko, Bulharsko, Řecko a Kypr.Kromě toho nabízí spojení ve směru Turecko</a:t>
            </a:r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6B1D083-96A8-46C7-8EDA-73D993B59158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alt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76667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§ 1 č. 9 nařízení o územním plánování uvádí, že pro „novou výstavbu a zásadní změnu trasy železničních tratí na spolkové železnici a pro novou výstavbu seřaďovacích nádraží a zařízení pro překládku u kombinované dopravy“ má proběhnout územní řízení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B1D083-96A8-46C7-8EDA-73D993B59158}" type="slidenum">
              <a:rPr lang="de-DE" altLang="de-DE" smtClean="0"/>
              <a:pPr/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53879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B1D083-96A8-46C7-8EDA-73D993B59158}" type="slidenum">
              <a:rPr lang="de-DE" altLang="de-DE" smtClean="0"/>
              <a:pPr/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065940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B1D083-96A8-46C7-8EDA-73D993B59158}" type="slidenum">
              <a:rPr lang="de-DE" altLang="de-DE" smtClean="0"/>
              <a:pPr/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489336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Bylo provedeno odborné šetření ohledně železničního provozu </a:t>
            </a:r>
            <a:r>
              <a:rPr lang="cs-CZ">
                <a:sym typeface="Wingdings"/>
              </a:rPr>
              <a:t> Nový úsek tratě v kombinaci se stávající trasou údolím Labe mají výrazný dopad na infrastrukturu Drážďan jako železničního uzlu, kde bude nutné učinit další  opatření.</a:t>
            </a:r>
          </a:p>
          <a:p>
            <a:r>
              <a:rPr lang="cs-CZ">
                <a:sym typeface="Wingdings"/>
              </a:rPr>
              <a:t>Simulace odsouhlaseného počtu vlaků proběhne společně se SŽDC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2C86E37-3F01-4BBB-9122-77AC771ED095}" type="slidenum">
              <a:rPr lang="de-DE" altLang="de-DE" smtClean="0"/>
              <a:pPr>
                <a:defRPr/>
              </a:pPr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370310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25400" y="0"/>
            <a:ext cx="7354888" cy="5094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68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AB1E1A1F-7B51-4F6B-A0A6-8D7DEE98D432}" type="slidenum">
              <a:rPr lang="de-DE" sz="1000" b="1">
                <a:solidFill>
                  <a:srgbClr val="000000"/>
                </a:solidFill>
              </a:rPr>
              <a:pPr defTabSz="94768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3</a:t>
            </a:fld>
            <a:endParaRPr lang="de-DE" sz="1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838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ctrTitle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 hidden="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36000" cy="36000"/>
          </a:xfrm>
        </p:spPr>
        <p:txBody>
          <a:bodyPr/>
          <a:lstStyle>
            <a:lvl1pPr marL="0" indent="0" algn="ctr">
              <a:buNone/>
              <a:defRPr sz="1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/>
          <a:p>
            <a:pPr algn="l">
              <a:spcBef>
                <a:spcPts val="0"/>
              </a:spcBef>
              <a:buClrTx/>
              <a:buFontTx/>
              <a:buNone/>
            </a:pPr>
            <a:r>
              <a:rPr lang="de-DE" sz="1200" b="1" u="none" dirty="0">
                <a:solidFill>
                  <a:schemeClr val="tx1"/>
                </a:solidFill>
              </a:rPr>
              <a:t>Hinweis:</a:t>
            </a:r>
          </a:p>
          <a:p>
            <a:pPr algn="l">
              <a:spcBef>
                <a:spcPts val="0"/>
              </a:spcBef>
              <a:buClrTx/>
              <a:buFontTx/>
              <a:buNone/>
            </a:pPr>
            <a:r>
              <a:rPr lang="de-DE" sz="1200" b="0" u="none" dirty="0"/>
              <a:t>Für</a:t>
            </a:r>
            <a:r>
              <a:rPr lang="de-DE" sz="1200" b="0" u="none" baseline="0" dirty="0"/>
              <a:t> externe Präsentationen bitte immer eine Titelfolie mit der Ressort-Farbe verwenden.</a:t>
            </a:r>
            <a:endParaRPr lang="de-DE" sz="1200" b="0" u="none" dirty="0"/>
          </a:p>
        </p:txBody>
      </p:sp>
    </p:spTree>
    <p:extLst>
      <p:ext uri="{BB962C8B-B14F-4D97-AF65-F5344CB8AC3E}">
        <p14:creationId xmlns:p14="http://schemas.microsoft.com/office/powerpoint/2010/main" val="38561200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8000" y="1412720"/>
            <a:ext cx="4680000" cy="4896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2000" y="1412720"/>
            <a:ext cx="4680000" cy="4896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5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4683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/ 2 Inhalte rechts 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8000" y="1412720"/>
            <a:ext cx="4680000" cy="489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021999" y="1412720"/>
            <a:ext cx="4680000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3932720"/>
            <a:ext cx="4680000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8438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links / Inhalt rechts 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197999" y="1412720"/>
            <a:ext cx="4680000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197999" y="3932720"/>
            <a:ext cx="4680000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2"/>
          </p:nvPr>
        </p:nvSpPr>
        <p:spPr>
          <a:xfrm>
            <a:off x="5021999" y="1412720"/>
            <a:ext cx="4680000" cy="489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694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1270775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7999" y="1412720"/>
            <a:ext cx="4680000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197999" y="3932720"/>
            <a:ext cx="4680000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1412720"/>
            <a:ext cx="4680000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5021999" y="3932720"/>
            <a:ext cx="4680000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6500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0" y="1270774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3347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1270774"/>
            <a:ext cx="9900000" cy="5184000"/>
          </a:xfrm>
          <a:pattFill prst="wdUpDiag">
            <a:fgClr>
              <a:schemeClr val="accent1"/>
            </a:fgClr>
            <a:bgClr>
              <a:schemeClr val="accent3"/>
            </a:bgClr>
          </a:patt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73644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(ganzfläch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900000" cy="6858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0" y="-891600"/>
            <a:ext cx="9901238" cy="847718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/>
              <a:t>Hinweis:</a:t>
            </a:r>
          </a:p>
          <a:p>
            <a:pPr lvl="0" algn="l"/>
            <a:r>
              <a:rPr lang="de-DE" b="0" dirty="0"/>
              <a:t>Bei Bedarf kann eine farbige oder transparente </a:t>
            </a:r>
            <a:r>
              <a:rPr lang="de-DE" b="0" dirty="0" err="1"/>
              <a:t>Textbox</a:t>
            </a:r>
            <a:r>
              <a:rPr lang="de-DE" b="0" dirty="0"/>
              <a:t> über den Menüpunkt „Einfügen-Elemente-Standard“ eingefügt werden.</a:t>
            </a:r>
          </a:p>
          <a:p>
            <a:pPr lvl="0" algn="l"/>
            <a:r>
              <a:rPr lang="de-DE" b="0" dirty="0"/>
              <a:t>Sollten Sie eine </a:t>
            </a:r>
            <a:r>
              <a:rPr lang="de-DE" b="0" dirty="0" err="1"/>
              <a:t>Textbox</a:t>
            </a:r>
            <a:r>
              <a:rPr lang="de-DE" b="0" dirty="0"/>
              <a:t> einsetzen, müssen Sie, wenn Sie ein bereits eingefügtes Bild austauschen, anschließend das neue Bild wieder in den Hintergrund stellen.</a:t>
            </a:r>
          </a:p>
        </p:txBody>
      </p:sp>
    </p:spTree>
    <p:extLst>
      <p:ext uri="{BB962C8B-B14F-4D97-AF65-F5344CB8AC3E}">
        <p14:creationId xmlns:p14="http://schemas.microsoft.com/office/powerpoint/2010/main" val="16439647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in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900000" cy="6858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0" y="4554000"/>
            <a:ext cx="9901238" cy="1368000"/>
          </a:xfrm>
          <a:solidFill>
            <a:schemeClr val="accent2"/>
          </a:solidFill>
        </p:spPr>
        <p:txBody>
          <a:bodyPr lIns="198000" tIns="180000" rIns="3600000" bIns="180000" anchor="ctr" anchorCtr="0"/>
          <a:lstStyle>
            <a:lvl1pPr>
              <a:defRPr sz="20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>
          <a:xfrm>
            <a:off x="6966899" y="4284000"/>
            <a:ext cx="2520531" cy="1908000"/>
          </a:xfr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/>
              <a:t>Hinweis:</a:t>
            </a:r>
          </a:p>
          <a:p>
            <a:pPr lvl="0" algn="l"/>
            <a:r>
              <a:rPr lang="de-DE" b="0" dirty="0"/>
              <a:t>Wenn Sie ein bereits eingefügtes Bild austauschen, müssen Sie das neue Bild anschließend wieder in den Hintergrund stellen.</a:t>
            </a:r>
          </a:p>
        </p:txBody>
      </p:sp>
    </p:spTree>
    <p:extLst>
      <p:ext uri="{BB962C8B-B14F-4D97-AF65-F5344CB8AC3E}">
        <p14:creationId xmlns:p14="http://schemas.microsoft.com/office/powerpoint/2010/main" val="11373343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Standar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/>
          <p:cNvGrpSpPr/>
          <p:nvPr userDrawn="1"/>
        </p:nvGrpSpPr>
        <p:grpSpPr>
          <a:xfrm>
            <a:off x="0" y="687600"/>
            <a:ext cx="9901238" cy="5766032"/>
            <a:chOff x="0" y="687600"/>
            <a:chExt cx="9901238" cy="5766032"/>
          </a:xfrm>
          <a:solidFill>
            <a:schemeClr val="accent2"/>
          </a:solidFill>
        </p:grpSpPr>
        <p:sp>
          <p:nvSpPr>
            <p:cNvPr id="14" name="Rectangle 18"/>
            <p:cNvSpPr>
              <a:spLocks noChangeArrowheads="1"/>
            </p:cNvSpPr>
            <p:nvPr/>
          </p:nvSpPr>
          <p:spPr bwMode="gray">
            <a:xfrm>
              <a:off x="1" y="687600"/>
              <a:ext cx="9901237" cy="5508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  <p:sp>
          <p:nvSpPr>
            <p:cNvPr id="15" name="Rectangle 18"/>
            <p:cNvSpPr>
              <a:spLocks noChangeArrowheads="1"/>
            </p:cNvSpPr>
            <p:nvPr/>
          </p:nvSpPr>
          <p:spPr bwMode="gray">
            <a:xfrm>
              <a:off x="0" y="6194432"/>
              <a:ext cx="7470356" cy="2592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</p:grp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/>
              <a:t>Hinweis:</a:t>
            </a:r>
          </a:p>
          <a:p>
            <a:pPr lvl="0"/>
            <a:r>
              <a:rPr lang="de-DE" b="0" dirty="0"/>
              <a:t>„Vielen Dank für Ihre Aufmerksamkeit“ kann auch durch ein anderes Abschlusszitat oder eine Botschaft ersetzt werden.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8000" y="1370797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chlussformel durch Klicken bearbeiten</a:t>
            </a:r>
            <a:br>
              <a:rPr lang="de-DE" dirty="0"/>
            </a:br>
            <a:r>
              <a:rPr lang="en-US" dirty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52416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(Variante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9900000" cy="6858000"/>
          </a:xfrm>
          <a:solidFill>
            <a:schemeClr val="tx1"/>
          </a:solidFill>
        </p:spPr>
        <p:txBody>
          <a:bodyPr lIns="180000" tIns="180000" rIns="180000" bIns="180000" anchor="ctr" anchorCtr="0"/>
          <a:lstStyle>
            <a:lvl1pPr algn="ctr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chlussformel durch Klicken bearbeiten</a:t>
            </a:r>
            <a:br>
              <a:rPr lang="de-DE" dirty="0"/>
            </a:br>
            <a:r>
              <a:rPr lang="en-US" dirty="0"/>
              <a:t>Click to ad complimentary close</a:t>
            </a:r>
            <a:endParaRPr lang="de-DE" dirty="0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/>
              <a:t>Hinweis:</a:t>
            </a:r>
          </a:p>
          <a:p>
            <a:pPr lvl="0" algn="l"/>
            <a:r>
              <a:rPr lang="de-DE" b="0" dirty="0"/>
              <a:t>„Vielen Dank für Ihre Aufmerksamkeit“ kann auch durch ein anderes Abschlusszitat oder eine Botschaft ersetzt werden.</a:t>
            </a:r>
          </a:p>
        </p:txBody>
      </p:sp>
    </p:spTree>
    <p:extLst>
      <p:ext uri="{BB962C8B-B14F-4D97-AF65-F5344CB8AC3E}">
        <p14:creationId xmlns:p14="http://schemas.microsoft.com/office/powerpoint/2010/main" val="265985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2564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(Variant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"/>
            <a:ext cx="9900000" cy="6858000"/>
          </a:xfrm>
          <a:noFill/>
        </p:spPr>
        <p:txBody>
          <a:bodyPr lIns="180000" tIns="180000" rIns="180000" bIns="180000" anchor="ctr" anchorCtr="0"/>
          <a:lstStyle>
            <a:lvl1pPr algn="ctr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chlussformel durch Klicken bearbeiten</a:t>
            </a:r>
            <a:br>
              <a:rPr lang="de-DE" dirty="0"/>
            </a:br>
            <a:r>
              <a:rPr lang="en-US" dirty="0"/>
              <a:t>Click to ad complimentary close</a:t>
            </a:r>
            <a:endParaRPr lang="de-DE" dirty="0"/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 algn="l"/>
            <a:r>
              <a:rPr lang="de-DE" b="1" dirty="0"/>
              <a:t>Hinweis:</a:t>
            </a:r>
          </a:p>
          <a:p>
            <a:pPr lvl="0" algn="l"/>
            <a:r>
              <a:rPr lang="de-DE" b="0" dirty="0"/>
              <a:t>„Vielen Dank für Ihre Aufmerksamkeit“ kann auch durch ein anderes Abschlusszitat oder eine Botschaft ersetzt werden.</a:t>
            </a:r>
          </a:p>
        </p:txBody>
      </p:sp>
    </p:spTree>
    <p:extLst>
      <p:ext uri="{BB962C8B-B14F-4D97-AF65-F5344CB8AC3E}">
        <p14:creationId xmlns:p14="http://schemas.microsoft.com/office/powerpoint/2010/main" val="33864933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0" y="4287940"/>
            <a:ext cx="9901238" cy="2165693"/>
            <a:chOff x="0" y="4287940"/>
            <a:chExt cx="9901238" cy="2165693"/>
          </a:xfrm>
          <a:solidFill>
            <a:schemeClr val="accent2"/>
          </a:solidFill>
        </p:grpSpPr>
        <p:sp>
          <p:nvSpPr>
            <p:cNvPr id="9" name="Rectangle 18"/>
            <p:cNvSpPr>
              <a:spLocks noChangeArrowheads="1"/>
            </p:cNvSpPr>
            <p:nvPr/>
          </p:nvSpPr>
          <p:spPr bwMode="gray">
            <a:xfrm>
              <a:off x="1" y="4287940"/>
              <a:ext cx="9901237" cy="1908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0" y="6194433"/>
              <a:ext cx="7470356" cy="2592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</p:grp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692600"/>
            <a:ext cx="9901238" cy="3600000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/>
              <a:t>Hinweis:</a:t>
            </a:r>
          </a:p>
          <a:p>
            <a:pPr lvl="0"/>
            <a:r>
              <a:rPr lang="de-DE" b="0" dirty="0"/>
              <a:t>„Vielen Dank für Ihre Aufmerksamkeit“ kann auch durch ein anderes Abschlusszitat oder eine Botschaft ersetzt werden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9929" y="4481796"/>
            <a:ext cx="950138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chlussformel durch Klicken bearbeiten</a:t>
            </a:r>
            <a:br>
              <a:rPr lang="de-DE" dirty="0"/>
            </a:br>
            <a:r>
              <a:rPr lang="en-US" dirty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09615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 userDrawn="1"/>
        </p:nvGrpSpPr>
        <p:grpSpPr>
          <a:xfrm>
            <a:off x="0" y="3209885"/>
            <a:ext cx="9901238" cy="3243747"/>
            <a:chOff x="-1" y="3009120"/>
            <a:chExt cx="9906001" cy="3240280"/>
          </a:xfrm>
          <a:solidFill>
            <a:schemeClr val="accent2"/>
          </a:solidFill>
        </p:grpSpPr>
        <p:sp>
          <p:nvSpPr>
            <p:cNvPr id="9" name="Rectangle 18"/>
            <p:cNvSpPr>
              <a:spLocks noChangeArrowheads="1"/>
            </p:cNvSpPr>
            <p:nvPr/>
          </p:nvSpPr>
          <p:spPr bwMode="gray">
            <a:xfrm>
              <a:off x="0" y="3009120"/>
              <a:ext cx="9906000" cy="2982862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gray">
            <a:xfrm>
              <a:off x="-1" y="5990477"/>
              <a:ext cx="7473950" cy="258923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/>
              <a:endParaRPr lang="en-US" noProof="0"/>
            </a:p>
          </p:txBody>
        </p:sp>
      </p:grpSp>
      <p:sp>
        <p:nvSpPr>
          <p:cNvPr id="1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692601"/>
            <a:ext cx="9901238" cy="2520862"/>
          </a:xfr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5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/>
              <a:t>Hinweis:</a:t>
            </a:r>
          </a:p>
          <a:p>
            <a:pPr lvl="0"/>
            <a:r>
              <a:rPr lang="de-DE" b="0" dirty="0"/>
              <a:t>„Vielen Dank für Ihre Aufmerksamkeit“ kann auch durch ein anderes Abschlusszitat oder eine Botschaft ersetzt werden.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9929" y="3402000"/>
            <a:ext cx="950138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bg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chlussformel durch Klicken bearbeiten</a:t>
            </a:r>
            <a:br>
              <a:rPr lang="de-DE" dirty="0"/>
            </a:br>
            <a:r>
              <a:rPr lang="en-US" dirty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54468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3"/>
          <p:cNvSpPr>
            <a:spLocks noGrp="1"/>
          </p:cNvSpPr>
          <p:nvPr>
            <p:ph type="pic" sz="quarter" idx="10"/>
          </p:nvPr>
        </p:nvSpPr>
        <p:spPr bwMode="auto">
          <a:xfrm>
            <a:off x="-1" y="692600"/>
            <a:ext cx="9901238" cy="3600000"/>
          </a:xfrm>
          <a:custGeom>
            <a:avLst/>
            <a:gdLst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0 w 9901238"/>
              <a:gd name="connsiteY3" fmla="*/ 3600000 h 3600000"/>
              <a:gd name="connsiteX4" fmla="*/ 0 w 9901238"/>
              <a:gd name="connsiteY4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596371 h 3600000"/>
              <a:gd name="connsiteX4" fmla="*/ 0 w 9901238"/>
              <a:gd name="connsiteY4" fmla="*/ 3600000 h 3600000"/>
              <a:gd name="connsiteX5" fmla="*/ 0 w 9901238"/>
              <a:gd name="connsiteY5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852230 w 9901238"/>
              <a:gd name="connsiteY3" fmla="*/ 3596371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53087 w 9901238"/>
              <a:gd name="connsiteY3" fmla="*/ 3335114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901238 w 9901238"/>
              <a:gd name="connsiteY2" fmla="*/ 3600000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7467601 w 9901238"/>
              <a:gd name="connsiteY2" fmla="*/ 3320600 h 3600000"/>
              <a:gd name="connsiteX3" fmla="*/ 7467601 w 9901238"/>
              <a:gd name="connsiteY3" fmla="*/ 3596371 h 3600000"/>
              <a:gd name="connsiteX4" fmla="*/ 0 w 9901238"/>
              <a:gd name="connsiteY4" fmla="*/ 3600000 h 3600000"/>
              <a:gd name="connsiteX5" fmla="*/ 0 w 9901238"/>
              <a:gd name="connsiteY5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8694058 w 9901238"/>
              <a:gd name="connsiteY2" fmla="*/ 1658714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898744 w 9901238"/>
              <a:gd name="connsiteY2" fmla="*/ 3335114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  <a:gd name="connsiteX0" fmla="*/ 0 w 9901238"/>
              <a:gd name="connsiteY0" fmla="*/ 0 h 3600000"/>
              <a:gd name="connsiteX1" fmla="*/ 9901238 w 9901238"/>
              <a:gd name="connsiteY1" fmla="*/ 0 h 3600000"/>
              <a:gd name="connsiteX2" fmla="*/ 9891487 w 9901238"/>
              <a:gd name="connsiteY2" fmla="*/ 3327857 h 3600000"/>
              <a:gd name="connsiteX3" fmla="*/ 7467601 w 9901238"/>
              <a:gd name="connsiteY3" fmla="*/ 3320600 h 3600000"/>
              <a:gd name="connsiteX4" fmla="*/ 7467601 w 9901238"/>
              <a:gd name="connsiteY4" fmla="*/ 3596371 h 3600000"/>
              <a:gd name="connsiteX5" fmla="*/ 0 w 9901238"/>
              <a:gd name="connsiteY5" fmla="*/ 3600000 h 3600000"/>
              <a:gd name="connsiteX6" fmla="*/ 0 w 9901238"/>
              <a:gd name="connsiteY6" fmla="*/ 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1238" h="3600000">
                <a:moveTo>
                  <a:pt x="0" y="0"/>
                </a:moveTo>
                <a:lnTo>
                  <a:pt x="9901238" y="0"/>
                </a:lnTo>
                <a:cubicBezTo>
                  <a:pt x="9900407" y="1111705"/>
                  <a:pt x="9892318" y="2216152"/>
                  <a:pt x="9891487" y="3327857"/>
                </a:cubicBezTo>
                <a:lnTo>
                  <a:pt x="7467601" y="3320600"/>
                </a:lnTo>
                <a:lnTo>
                  <a:pt x="7467601" y="3596371"/>
                </a:lnTo>
                <a:lnTo>
                  <a:pt x="0" y="3600000"/>
                </a:lnTo>
                <a:lnTo>
                  <a:pt x="0" y="0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accent3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/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6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/>
              <a:t>Hinweis:</a:t>
            </a:r>
          </a:p>
          <a:p>
            <a:pPr lvl="0"/>
            <a:r>
              <a:rPr lang="de-DE" b="0" dirty="0"/>
              <a:t>„Vielen Dank für Ihre Aufmerksamkeit“ kann auch durch ein anderes Abschlusszitat oder eine Botschaft ersetzt werden.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98000" y="4481796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chlussformel durch Klicken bearbeiten</a:t>
            </a:r>
            <a:br>
              <a:rPr lang="de-DE" dirty="0"/>
            </a:br>
            <a:r>
              <a:rPr lang="en-US" dirty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24974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(Variante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8"/>
          <p:cNvSpPr>
            <a:spLocks noChangeArrowheads="1"/>
          </p:cNvSpPr>
          <p:nvPr/>
        </p:nvSpPr>
        <p:spPr bwMode="gray">
          <a:xfrm>
            <a:off x="-1" y="692601"/>
            <a:ext cx="9901238" cy="540000"/>
          </a:xfrm>
          <a:custGeom>
            <a:avLst/>
            <a:gdLst/>
            <a:ahLst/>
            <a:cxnLst/>
            <a:rect l="l" t="t" r="r" b="b"/>
            <a:pathLst>
              <a:path w="9901238" h="540000">
                <a:moveTo>
                  <a:pt x="0" y="0"/>
                </a:moveTo>
                <a:lnTo>
                  <a:pt x="1" y="0"/>
                </a:lnTo>
                <a:lnTo>
                  <a:pt x="7470356" y="0"/>
                </a:lnTo>
                <a:lnTo>
                  <a:pt x="9901238" y="0"/>
                </a:lnTo>
                <a:lnTo>
                  <a:pt x="9901238" y="270000"/>
                </a:lnTo>
                <a:lnTo>
                  <a:pt x="7470356" y="270000"/>
                </a:lnTo>
                <a:lnTo>
                  <a:pt x="7470356" y="540000"/>
                </a:lnTo>
                <a:lnTo>
                  <a:pt x="0" y="540000"/>
                </a:lnTo>
                <a:close/>
              </a:path>
            </a:pathLst>
          </a:custGeom>
          <a:solidFill>
            <a:schemeClr val="accent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eaLnBrk="0" hangingPunct="0"/>
            <a:endParaRPr lang="en-US" noProof="0"/>
          </a:p>
        </p:txBody>
      </p:sp>
      <p:sp>
        <p:nvSpPr>
          <p:cNvPr id="12" name="Text Box 5"/>
          <p:cNvSpPr txBox="1">
            <a:spLocks noChangeArrowheads="1"/>
          </p:cNvSpPr>
          <p:nvPr userDrawn="1"/>
        </p:nvSpPr>
        <p:spPr bwMode="auto">
          <a:xfrm>
            <a:off x="-6512" y="-510191"/>
            <a:ext cx="9900000" cy="478387"/>
          </a:xfrm>
          <a:prstGeom prst="rect">
            <a:avLst/>
          </a:prstGeom>
          <a:solidFill>
            <a:srgbClr val="F7DC00"/>
          </a:solidFill>
          <a:ln w="2857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" tIns="54000" rIns="54000" bIns="54000">
            <a:spAutoFit/>
          </a:bodyPr>
          <a:lstStyle>
            <a:defPPr>
              <a:defRPr lang="de-DE"/>
            </a:defPPr>
            <a:lvl1pPr lvl="0" algn="l">
              <a:spcBef>
                <a:spcPts val="0"/>
              </a:spcBef>
              <a:buClrTx/>
              <a:buFontTx/>
              <a:buNone/>
              <a:defRPr sz="1200" b="1" u="none"/>
            </a:lvl1pPr>
          </a:lstStyle>
          <a:p>
            <a:pPr lvl="0"/>
            <a:r>
              <a:rPr lang="de-DE" b="1" dirty="0"/>
              <a:t>Hinweis:</a:t>
            </a:r>
          </a:p>
          <a:p>
            <a:pPr lvl="0"/>
            <a:r>
              <a:rPr lang="de-DE" b="0" dirty="0"/>
              <a:t>„Vielen Dank für Ihre Aufmerksamkeit“ kann auch durch ein anderes Abschlusszitat oder eine Botschaft ersetzt werden.</a:t>
            </a:r>
          </a:p>
        </p:txBody>
      </p:sp>
      <p:sp>
        <p:nvSpPr>
          <p:cNvPr id="9" name="Textplatzhalt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98000" y="1370797"/>
            <a:ext cx="9504000" cy="863600"/>
          </a:xfrm>
          <a:noFill/>
        </p:spPr>
        <p:txBody>
          <a:bodyPr lIns="0" tIns="0" rIns="0" bIns="0" anchor="t" anchorCtr="0"/>
          <a:lstStyle>
            <a:lvl1pPr algn="l">
              <a:defRPr sz="2400" b="1">
                <a:solidFill>
                  <a:schemeClr val="tx1"/>
                </a:solidFill>
              </a:defRPr>
            </a:lvl1pPr>
            <a:lvl2pPr marL="1588" indent="0">
              <a:buNone/>
              <a:defRPr sz="2000" b="1">
                <a:solidFill>
                  <a:schemeClr val="bg1"/>
                </a:solidFill>
              </a:defRPr>
            </a:lvl2pPr>
            <a:lvl3pPr marL="0" indent="0">
              <a:buNone/>
              <a:defRPr sz="2000" b="1">
                <a:solidFill>
                  <a:schemeClr val="bg1"/>
                </a:solidFill>
              </a:defRPr>
            </a:lvl3pPr>
            <a:lvl4pPr marL="0" indent="0">
              <a:buNone/>
              <a:defRPr sz="2000" b="1">
                <a:solidFill>
                  <a:schemeClr val="bg1"/>
                </a:solidFill>
              </a:defRPr>
            </a:lvl4pPr>
            <a:lvl5pPr marL="1588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chlussformel durch Klicken bearbeiten</a:t>
            </a:r>
            <a:br>
              <a:rPr lang="de-DE" dirty="0"/>
            </a:br>
            <a:r>
              <a:rPr lang="en-US" dirty="0"/>
              <a:t>Click to ad complimentary clo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27980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8000" y="1270775"/>
            <a:ext cx="4680000" cy="518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2000" y="1270775"/>
            <a:ext cx="4680000" cy="5184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5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10000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/ 2 Inhalte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8000" y="1270775"/>
            <a:ext cx="4680000" cy="518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5021999" y="1270775"/>
            <a:ext cx="4680000" cy="252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3934775"/>
            <a:ext cx="4680000" cy="252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8844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links /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197999" y="1270775"/>
            <a:ext cx="4680000" cy="252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1"/>
          </p:nvPr>
        </p:nvSpPr>
        <p:spPr>
          <a:xfrm>
            <a:off x="197999" y="3934775"/>
            <a:ext cx="4680000" cy="252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2"/>
          </p:nvPr>
        </p:nvSpPr>
        <p:spPr>
          <a:xfrm>
            <a:off x="5021999" y="1270775"/>
            <a:ext cx="4680000" cy="5184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1239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97999" y="1270775"/>
            <a:ext cx="4680000" cy="252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197999" y="3934775"/>
            <a:ext cx="4680000" cy="252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5021999" y="1270775"/>
            <a:ext cx="4680000" cy="252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/>
          </p:nvPr>
        </p:nvSpPr>
        <p:spPr>
          <a:xfrm>
            <a:off x="5021999" y="3934775"/>
            <a:ext cx="4680000" cy="252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9761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4523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41223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grauem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0" y="1270775"/>
            <a:ext cx="9900000" cy="5184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98000" y="1412720"/>
            <a:ext cx="9504000" cy="489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1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3527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8000" y="403200"/>
            <a:ext cx="9504000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223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8000" y="1270775"/>
            <a:ext cx="9504000" cy="518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ie Formate des Vorlagentextes zu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sp>
        <p:nvSpPr>
          <p:cNvPr id="309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000" y="6692901"/>
            <a:ext cx="689495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dirty="0"/>
              <a:t>DB Netz AG | Kay Müller | Information zur HSL in Tschechien| 28.11.2019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pPr algn="l"/>
            <a:fld id="{52C6F6EA-6ADD-43B6-963C-85EF970B7263}" type="slidenum">
              <a:rPr lang="de-DE" smtClean="0"/>
              <a:pPr algn="l"/>
              <a:t>‹Nr.›</a:t>
            </a:fld>
            <a:endParaRPr lang="de-DE" dirty="0"/>
          </a:p>
        </p:txBody>
      </p:sp>
      <p:pic>
        <p:nvPicPr>
          <p:cNvPr id="9" name="Picture 60" descr="DB-NETZE_rgb_M"/>
          <p:cNvPicPr>
            <a:picLocks noChangeAspect="1" noChangeArrowheads="1"/>
          </p:cNvPicPr>
          <p:nvPr userDrawn="1">
            <p:custDataLst>
              <p:tags r:id="rId26"/>
            </p:custDataLst>
          </p:nvPr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8" t="-66" r="82" b="-289"/>
          <a:stretch/>
        </p:blipFill>
        <p:spPr bwMode="auto">
          <a:xfrm>
            <a:off x="8135109" y="188550"/>
            <a:ext cx="1567691" cy="37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651" r:id="rId2"/>
    <p:sldLayoutId id="2147483653" r:id="rId3"/>
    <p:sldLayoutId id="2147483720" r:id="rId4"/>
    <p:sldLayoutId id="2147483721" r:id="rId5"/>
    <p:sldLayoutId id="2147483722" r:id="rId6"/>
    <p:sldLayoutId id="2147483655" r:id="rId7"/>
    <p:sldLayoutId id="2147483656" r:id="rId8"/>
    <p:sldLayoutId id="2147483700" r:id="rId9"/>
    <p:sldLayoutId id="2147483717" r:id="rId10"/>
    <p:sldLayoutId id="2147483723" r:id="rId11"/>
    <p:sldLayoutId id="2147483724" r:id="rId12"/>
    <p:sldLayoutId id="2147483725" r:id="rId13"/>
    <p:sldLayoutId id="2147483716" r:id="rId14"/>
    <p:sldLayoutId id="2147483697" r:id="rId15"/>
    <p:sldLayoutId id="2147483681" r:id="rId16"/>
    <p:sldLayoutId id="2147483674" r:id="rId17"/>
    <p:sldLayoutId id="2147483673" r:id="rId18"/>
    <p:sldLayoutId id="2147483718" r:id="rId19"/>
    <p:sldLayoutId id="2147483719" r:id="rId20"/>
    <p:sldLayoutId id="2147483670" r:id="rId21"/>
    <p:sldLayoutId id="2147483671" r:id="rId22"/>
    <p:sldLayoutId id="2147483702" r:id="rId23"/>
    <p:sldLayoutId id="2147483701" r:id="rId24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>
          <a:solidFill>
            <a:schemeClr val="tx2"/>
          </a:solidFill>
          <a:latin typeface="DB Office" panose="020B060402020202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DB Office" panose="020B0604020202020204" pitchFamily="34" charset="0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sz="1600">
          <a:solidFill>
            <a:schemeClr val="tx1"/>
          </a:solidFill>
          <a:latin typeface="DB Office" panose="020B0604020202020204" pitchFamily="34" charset="0"/>
        </a:defRPr>
      </a:lvl2pPr>
      <a:lvl3pPr marL="358775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DB Office" panose="020B0604020202020204" pitchFamily="34" charset="0"/>
        </a:defRPr>
      </a:lvl3pPr>
      <a:lvl4pPr marL="54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1600">
          <a:solidFill>
            <a:schemeClr val="tx1"/>
          </a:solidFill>
          <a:latin typeface="DB Office" panose="020B0604020202020204" pitchFamily="34" charset="0"/>
        </a:defRPr>
      </a:lvl4pPr>
      <a:lvl5pPr marL="720000" indent="-180000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DB Office" panose="020B0604020202020204" pitchFamily="34" charset="0"/>
        </a:defRPr>
      </a:lvl5pPr>
      <a:lvl6pPr marL="11858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1" fontAlgn="base" hangingPunct="1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49.xml"/><Relationship Id="rId7" Type="http://schemas.openxmlformats.org/officeDocument/2006/relationships/image" Target="../media/image8.png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7.pn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tags" Target="../tags/tag162.xml"/><Relationship Id="rId18" Type="http://schemas.openxmlformats.org/officeDocument/2006/relationships/tags" Target="../tags/tag167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tags" Target="../tags/tag161.xml"/><Relationship Id="rId17" Type="http://schemas.openxmlformats.org/officeDocument/2006/relationships/tags" Target="../tags/tag166.xml"/><Relationship Id="rId2" Type="http://schemas.openxmlformats.org/officeDocument/2006/relationships/tags" Target="../tags/tag151.xml"/><Relationship Id="rId16" Type="http://schemas.openxmlformats.org/officeDocument/2006/relationships/tags" Target="../tags/tag165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11" Type="http://schemas.openxmlformats.org/officeDocument/2006/relationships/tags" Target="../tags/tag160.xml"/><Relationship Id="rId5" Type="http://schemas.openxmlformats.org/officeDocument/2006/relationships/tags" Target="../tags/tag154.xml"/><Relationship Id="rId15" Type="http://schemas.openxmlformats.org/officeDocument/2006/relationships/tags" Target="../tags/tag164.xml"/><Relationship Id="rId10" Type="http://schemas.openxmlformats.org/officeDocument/2006/relationships/tags" Target="../tags/tag159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153.xml"/><Relationship Id="rId9" Type="http://schemas.openxmlformats.org/officeDocument/2006/relationships/tags" Target="../tags/tag158.xml"/><Relationship Id="rId14" Type="http://schemas.openxmlformats.org/officeDocument/2006/relationships/tags" Target="../tags/tag16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69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168.x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71.xml"/><Relationship Id="rId10" Type="http://schemas.openxmlformats.org/officeDocument/2006/relationships/comments" Target="../comments/comment4.xml"/><Relationship Id="rId4" Type="http://schemas.openxmlformats.org/officeDocument/2006/relationships/tags" Target="../tags/tag170.xml"/><Relationship Id="rId9" Type="http://schemas.openxmlformats.org/officeDocument/2006/relationships/image" Target="../media/image12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bauprojekte.deutschebahn.com/p/dresden-prag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notesSlide" Target="../notesSlides/notesSlide2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comments" Target="../comments/comment1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26" Type="http://schemas.openxmlformats.org/officeDocument/2006/relationships/tags" Target="../tags/tag49.xml"/><Relationship Id="rId39" Type="http://schemas.openxmlformats.org/officeDocument/2006/relationships/tags" Target="../tags/tag62.xml"/><Relationship Id="rId21" Type="http://schemas.openxmlformats.org/officeDocument/2006/relationships/tags" Target="../tags/tag44.xml"/><Relationship Id="rId34" Type="http://schemas.openxmlformats.org/officeDocument/2006/relationships/tags" Target="../tags/tag57.xml"/><Relationship Id="rId42" Type="http://schemas.openxmlformats.org/officeDocument/2006/relationships/tags" Target="../tags/tag65.xml"/><Relationship Id="rId47" Type="http://schemas.openxmlformats.org/officeDocument/2006/relationships/tags" Target="../tags/tag70.xml"/><Relationship Id="rId50" Type="http://schemas.openxmlformats.org/officeDocument/2006/relationships/tags" Target="../tags/tag73.xml"/><Relationship Id="rId55" Type="http://schemas.openxmlformats.org/officeDocument/2006/relationships/tags" Target="../tags/tag78.xml"/><Relationship Id="rId63" Type="http://schemas.openxmlformats.org/officeDocument/2006/relationships/tags" Target="../tags/tag86.xml"/><Relationship Id="rId68" Type="http://schemas.openxmlformats.org/officeDocument/2006/relationships/tags" Target="../tags/tag91.xml"/><Relationship Id="rId76" Type="http://schemas.openxmlformats.org/officeDocument/2006/relationships/tags" Target="../tags/tag99.xml"/><Relationship Id="rId84" Type="http://schemas.openxmlformats.org/officeDocument/2006/relationships/tags" Target="../tags/tag107.xml"/><Relationship Id="rId7" Type="http://schemas.openxmlformats.org/officeDocument/2006/relationships/tags" Target="../tags/tag30.xml"/><Relationship Id="rId71" Type="http://schemas.openxmlformats.org/officeDocument/2006/relationships/tags" Target="../tags/tag94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9" Type="http://schemas.openxmlformats.org/officeDocument/2006/relationships/tags" Target="../tags/tag52.xml"/><Relationship Id="rId11" Type="http://schemas.openxmlformats.org/officeDocument/2006/relationships/tags" Target="../tags/tag34.xml"/><Relationship Id="rId24" Type="http://schemas.openxmlformats.org/officeDocument/2006/relationships/tags" Target="../tags/tag47.xml"/><Relationship Id="rId32" Type="http://schemas.openxmlformats.org/officeDocument/2006/relationships/tags" Target="../tags/tag55.xml"/><Relationship Id="rId37" Type="http://schemas.openxmlformats.org/officeDocument/2006/relationships/tags" Target="../tags/tag60.xml"/><Relationship Id="rId40" Type="http://schemas.openxmlformats.org/officeDocument/2006/relationships/tags" Target="../tags/tag63.xml"/><Relationship Id="rId45" Type="http://schemas.openxmlformats.org/officeDocument/2006/relationships/tags" Target="../tags/tag68.xml"/><Relationship Id="rId53" Type="http://schemas.openxmlformats.org/officeDocument/2006/relationships/tags" Target="../tags/tag76.xml"/><Relationship Id="rId58" Type="http://schemas.openxmlformats.org/officeDocument/2006/relationships/tags" Target="../tags/tag81.xml"/><Relationship Id="rId66" Type="http://schemas.openxmlformats.org/officeDocument/2006/relationships/tags" Target="../tags/tag89.xml"/><Relationship Id="rId74" Type="http://schemas.openxmlformats.org/officeDocument/2006/relationships/tags" Target="../tags/tag97.xml"/><Relationship Id="rId79" Type="http://schemas.openxmlformats.org/officeDocument/2006/relationships/tags" Target="../tags/tag102.xml"/><Relationship Id="rId87" Type="http://schemas.openxmlformats.org/officeDocument/2006/relationships/comments" Target="../comments/comment2.xml"/><Relationship Id="rId5" Type="http://schemas.openxmlformats.org/officeDocument/2006/relationships/tags" Target="../tags/tag28.xml"/><Relationship Id="rId61" Type="http://schemas.openxmlformats.org/officeDocument/2006/relationships/tags" Target="../tags/tag84.xml"/><Relationship Id="rId82" Type="http://schemas.openxmlformats.org/officeDocument/2006/relationships/tags" Target="../tags/tag105.xml"/><Relationship Id="rId19" Type="http://schemas.openxmlformats.org/officeDocument/2006/relationships/tags" Target="../tags/tag42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tags" Target="../tags/tag45.xml"/><Relationship Id="rId27" Type="http://schemas.openxmlformats.org/officeDocument/2006/relationships/tags" Target="../tags/tag50.xml"/><Relationship Id="rId30" Type="http://schemas.openxmlformats.org/officeDocument/2006/relationships/tags" Target="../tags/tag53.xml"/><Relationship Id="rId35" Type="http://schemas.openxmlformats.org/officeDocument/2006/relationships/tags" Target="../tags/tag58.xml"/><Relationship Id="rId43" Type="http://schemas.openxmlformats.org/officeDocument/2006/relationships/tags" Target="../tags/tag66.xml"/><Relationship Id="rId48" Type="http://schemas.openxmlformats.org/officeDocument/2006/relationships/tags" Target="../tags/tag71.xml"/><Relationship Id="rId56" Type="http://schemas.openxmlformats.org/officeDocument/2006/relationships/tags" Target="../tags/tag79.xml"/><Relationship Id="rId64" Type="http://schemas.openxmlformats.org/officeDocument/2006/relationships/tags" Target="../tags/tag87.xml"/><Relationship Id="rId69" Type="http://schemas.openxmlformats.org/officeDocument/2006/relationships/tags" Target="../tags/tag92.xml"/><Relationship Id="rId77" Type="http://schemas.openxmlformats.org/officeDocument/2006/relationships/tags" Target="../tags/tag100.xml"/><Relationship Id="rId8" Type="http://schemas.openxmlformats.org/officeDocument/2006/relationships/tags" Target="../tags/tag31.xml"/><Relationship Id="rId51" Type="http://schemas.openxmlformats.org/officeDocument/2006/relationships/tags" Target="../tags/tag74.xml"/><Relationship Id="rId72" Type="http://schemas.openxmlformats.org/officeDocument/2006/relationships/tags" Target="../tags/tag95.xml"/><Relationship Id="rId80" Type="http://schemas.openxmlformats.org/officeDocument/2006/relationships/tags" Target="../tags/tag103.xml"/><Relationship Id="rId85" Type="http://schemas.openxmlformats.org/officeDocument/2006/relationships/slideLayout" Target="../slideLayouts/slideLayout7.xml"/><Relationship Id="rId3" Type="http://schemas.openxmlformats.org/officeDocument/2006/relationships/tags" Target="../tags/tag26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openxmlformats.org/officeDocument/2006/relationships/tags" Target="../tags/tag48.xml"/><Relationship Id="rId33" Type="http://schemas.openxmlformats.org/officeDocument/2006/relationships/tags" Target="../tags/tag56.xml"/><Relationship Id="rId38" Type="http://schemas.openxmlformats.org/officeDocument/2006/relationships/tags" Target="../tags/tag61.xml"/><Relationship Id="rId46" Type="http://schemas.openxmlformats.org/officeDocument/2006/relationships/tags" Target="../tags/tag69.xml"/><Relationship Id="rId59" Type="http://schemas.openxmlformats.org/officeDocument/2006/relationships/tags" Target="../tags/tag82.xml"/><Relationship Id="rId67" Type="http://schemas.openxmlformats.org/officeDocument/2006/relationships/tags" Target="../tags/tag90.xml"/><Relationship Id="rId20" Type="http://schemas.openxmlformats.org/officeDocument/2006/relationships/tags" Target="../tags/tag43.xml"/><Relationship Id="rId41" Type="http://schemas.openxmlformats.org/officeDocument/2006/relationships/tags" Target="../tags/tag64.xml"/><Relationship Id="rId54" Type="http://schemas.openxmlformats.org/officeDocument/2006/relationships/tags" Target="../tags/tag77.xml"/><Relationship Id="rId62" Type="http://schemas.openxmlformats.org/officeDocument/2006/relationships/tags" Target="../tags/tag85.xml"/><Relationship Id="rId70" Type="http://schemas.openxmlformats.org/officeDocument/2006/relationships/tags" Target="../tags/tag93.xml"/><Relationship Id="rId75" Type="http://schemas.openxmlformats.org/officeDocument/2006/relationships/tags" Target="../tags/tag98.xml"/><Relationship Id="rId83" Type="http://schemas.openxmlformats.org/officeDocument/2006/relationships/tags" Target="../tags/tag106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5" Type="http://schemas.openxmlformats.org/officeDocument/2006/relationships/tags" Target="../tags/tag38.xml"/><Relationship Id="rId23" Type="http://schemas.openxmlformats.org/officeDocument/2006/relationships/tags" Target="../tags/tag46.xml"/><Relationship Id="rId28" Type="http://schemas.openxmlformats.org/officeDocument/2006/relationships/tags" Target="../tags/tag51.xml"/><Relationship Id="rId36" Type="http://schemas.openxmlformats.org/officeDocument/2006/relationships/tags" Target="../tags/tag59.xml"/><Relationship Id="rId49" Type="http://schemas.openxmlformats.org/officeDocument/2006/relationships/tags" Target="../tags/tag72.xml"/><Relationship Id="rId57" Type="http://schemas.openxmlformats.org/officeDocument/2006/relationships/tags" Target="../tags/tag80.xml"/><Relationship Id="rId10" Type="http://schemas.openxmlformats.org/officeDocument/2006/relationships/tags" Target="../tags/tag33.xml"/><Relationship Id="rId31" Type="http://schemas.openxmlformats.org/officeDocument/2006/relationships/tags" Target="../tags/tag54.xml"/><Relationship Id="rId44" Type="http://schemas.openxmlformats.org/officeDocument/2006/relationships/tags" Target="../tags/tag67.xml"/><Relationship Id="rId52" Type="http://schemas.openxmlformats.org/officeDocument/2006/relationships/tags" Target="../tags/tag75.xml"/><Relationship Id="rId60" Type="http://schemas.openxmlformats.org/officeDocument/2006/relationships/tags" Target="../tags/tag83.xml"/><Relationship Id="rId65" Type="http://schemas.openxmlformats.org/officeDocument/2006/relationships/tags" Target="../tags/tag88.xml"/><Relationship Id="rId73" Type="http://schemas.openxmlformats.org/officeDocument/2006/relationships/tags" Target="../tags/tag96.xml"/><Relationship Id="rId78" Type="http://schemas.openxmlformats.org/officeDocument/2006/relationships/tags" Target="../tags/tag101.xml"/><Relationship Id="rId81" Type="http://schemas.openxmlformats.org/officeDocument/2006/relationships/tags" Target="../tags/tag104.xml"/><Relationship Id="rId86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18" Type="http://schemas.openxmlformats.org/officeDocument/2006/relationships/tags" Target="../tags/tag12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2" Type="http://schemas.openxmlformats.org/officeDocument/2006/relationships/tags" Target="../tags/tag111.xml"/><Relationship Id="rId16" Type="http://schemas.openxmlformats.org/officeDocument/2006/relationships/tags" Target="../tags/tag125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tags" Target="../tags/tag124.xml"/><Relationship Id="rId10" Type="http://schemas.openxmlformats.org/officeDocument/2006/relationships/tags" Target="../tags/tag119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8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10" Type="http://schemas.openxmlformats.org/officeDocument/2006/relationships/tags" Target="../tags/tag138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W_PICTURE_PLACEHOLDER">
            <a:extLst>
              <a:ext uri="{FF2B5EF4-FFF2-40B4-BE49-F238E27FC236}">
                <a16:creationId xmlns:a16="http://schemas.microsoft.com/office/drawing/2014/main" id="{18E4DDE0-DB51-4159-B049-BAB268DBE9A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" y="692696"/>
            <a:ext cx="9900712" cy="2517648"/>
          </a:xfrm>
          <a:prstGeom prst="rect">
            <a:avLst/>
          </a:prstGeom>
        </p:spPr>
      </p:pic>
      <p:sp>
        <p:nvSpPr>
          <p:cNvPr id="8" name="Untertitelbox">
            <a:extLst>
              <a:ext uri="{FF2B5EF4-FFF2-40B4-BE49-F238E27FC236}">
                <a16:creationId xmlns:a16="http://schemas.microsoft.com/office/drawing/2014/main" id="{37F5D32E-AB55-4BD3-92C0-BD0E67E480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438" y="4501106"/>
            <a:ext cx="9501188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185738" indent="-184150" eaLnBrk="0" hangingPunct="0">
              <a:buClr>
                <a:schemeClr val="accent2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358775" indent="-171450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544513" indent="-184150" eaLnBrk="0" hangingPunct="0"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728663" indent="-182563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11858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16430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21002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2557463" indent="-18256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r>
              <a:rPr lang="cs-CZ" sz="3600" b="1"/>
              <a:t>Nový úsek tratě Drážďany – Praha</a:t>
            </a:r>
          </a:p>
          <a:p>
            <a:pPr algn="l"/>
            <a:r>
              <a:rPr lang="cs-CZ" sz="3600" b="1"/>
              <a:t>Stav z pohledu společnosti DB Netz AG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2A426DE-0D61-40AB-8E03-9DC1B2495DC6}"/>
              </a:ext>
            </a:extLst>
          </p:cNvPr>
          <p:cNvGrpSpPr/>
          <p:nvPr/>
        </p:nvGrpSpPr>
        <p:grpSpPr>
          <a:xfrm>
            <a:off x="0" y="3212475"/>
            <a:ext cx="9901238" cy="540000"/>
            <a:chOff x="0" y="4653170"/>
            <a:chExt cx="9901238" cy="540000"/>
          </a:xfrm>
          <a:solidFill>
            <a:schemeClr val="accent2"/>
          </a:solidFill>
        </p:grpSpPr>
        <p:sp>
          <p:nvSpPr>
            <p:cNvPr id="10" name="Rectangle 18">
              <a:extLst>
                <a:ext uri="{FF2B5EF4-FFF2-40B4-BE49-F238E27FC236}">
                  <a16:creationId xmlns:a16="http://schemas.microsoft.com/office/drawing/2014/main" id="{65DE7F98-7459-42E1-B9C5-CFE6513075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" y="4653170"/>
              <a:ext cx="9901237" cy="27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1" name="Rectangle 18">
              <a:extLst>
                <a:ext uri="{FF2B5EF4-FFF2-40B4-BE49-F238E27FC236}">
                  <a16:creationId xmlns:a16="http://schemas.microsoft.com/office/drawing/2014/main" id="{D6F4B97E-A8C2-4BD7-ADC5-5117B0A3646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0" y="4653170"/>
              <a:ext cx="7470356" cy="540000"/>
            </a:xfrm>
            <a:prstGeom prst="rect">
              <a:avLst/>
            </a:prstGeom>
            <a:grp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cs typeface="+mn-cs"/>
              </a:endParaRPr>
            </a:p>
          </p:txBody>
        </p:sp>
      </p:grpSp>
      <p:sp>
        <p:nvSpPr>
          <p:cNvPr id="12" name="TW_Footer_1">
            <a:extLst>
              <a:ext uri="{FF2B5EF4-FFF2-40B4-BE49-F238E27FC236}">
                <a16:creationId xmlns:a16="http://schemas.microsoft.com/office/drawing/2014/main" id="{4EF96E2B-06CE-453F-AAED-75F0DEFFB4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438" y="5949950"/>
            <a:ext cx="9502775" cy="236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indent="-179388" eaLnBrk="0" hangingPunct="0">
              <a:buClr>
                <a:schemeClr val="accent2"/>
              </a:buClr>
              <a:buSzPct val="85000"/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indent="-179388" eaLnBrk="0" hangingPunct="0"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indent="-179388" eaLnBrk="0" hangingPunct="0"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indent="-1793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Char char="–"/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r>
              <a:rPr lang="cs-CZ" sz="1200" b="1"/>
              <a:t>DB Netz AG | Kay Müller | 28.11.2019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52336A80-D439-468D-AE03-19FBCB33D47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Untertitel 15">
            <a:extLst>
              <a:ext uri="{FF2B5EF4-FFF2-40B4-BE49-F238E27FC236}">
                <a16:creationId xmlns:a16="http://schemas.microsoft.com/office/drawing/2014/main" id="{355CB797-E531-40A4-8F99-26775AB679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94832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E14793B-1F74-4950-BE99-C6DD9F5248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98000" y="1412720"/>
            <a:ext cx="2520371" cy="4896000"/>
          </a:xfrm>
        </p:spPr>
        <p:txBody>
          <a:bodyPr/>
          <a:lstStyle/>
          <a:p>
            <a:pPr marL="177800" lvl="1" indent="-176213" eaLnBrk="0" hangingPunct="0">
              <a:spcBef>
                <a:spcPct val="20000"/>
              </a:spcBef>
            </a:pPr>
            <a:r>
              <a:rPr lang="cs-CZ" kern="1200">
                <a:solidFill>
                  <a:srgbClr val="000000"/>
                </a:solidFill>
              </a:rPr>
              <a:t>Tunel je plánován jako dva jednokolejné tunelové tubusy s vnějším a vnitřním pláštěm vytvořeným běžnou technologií stříkaného betonu resp. strojově ražený tunel s tybinkovou výztuží</a:t>
            </a:r>
            <a:endParaRPr lang="de-DE" kern="1200" dirty="0">
              <a:solidFill>
                <a:srgbClr val="000000"/>
              </a:solidFill>
            </a:endParaRPr>
          </a:p>
          <a:p>
            <a:pPr marL="177800" lvl="1" indent="-176213" eaLnBrk="0" hangingPunct="0">
              <a:spcBef>
                <a:spcPct val="20000"/>
              </a:spcBef>
            </a:pPr>
            <a:endParaRPr lang="de-DE" kern="1200" dirty="0">
              <a:solidFill>
                <a:srgbClr val="000000"/>
              </a:solidFill>
            </a:endParaRPr>
          </a:p>
          <a:p>
            <a:pPr marL="177800" lvl="1" indent="-176213" eaLnBrk="0" hangingPunct="0">
              <a:spcBef>
                <a:spcPct val="20000"/>
              </a:spcBef>
            </a:pPr>
            <a:r>
              <a:rPr lang="cs-CZ" kern="1200">
                <a:solidFill>
                  <a:srgbClr val="000000"/>
                </a:solidFill>
              </a:rPr>
              <a:t>Tunelové tubusy budou vzájemně propojeny příčnými chodbami</a:t>
            </a:r>
          </a:p>
          <a:p>
            <a:pPr marL="177800" lvl="1" indent="-176213" eaLnBrk="0" hangingPunct="0">
              <a:spcBef>
                <a:spcPct val="20000"/>
              </a:spcBef>
            </a:pPr>
            <a:endParaRPr lang="de-DE" kern="1200" dirty="0">
              <a:solidFill>
                <a:srgbClr val="000000"/>
              </a:solidFill>
            </a:endParaRPr>
          </a:p>
          <a:p>
            <a:pPr marL="177800" lvl="1" indent="-176213" eaLnBrk="0" hangingPunct="0">
              <a:spcBef>
                <a:spcPct val="20000"/>
              </a:spcBef>
            </a:pPr>
            <a:r>
              <a:rPr lang="cs-CZ" kern="1200">
                <a:solidFill>
                  <a:srgbClr val="000000"/>
                </a:solidFill>
              </a:rPr>
              <a:t>Nouzové zastavení</a:t>
            </a:r>
          </a:p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2069C8F-22C1-41D6-B46A-484D498783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10459" y="1412720"/>
            <a:ext cx="6191541" cy="4896000"/>
          </a:xfrm>
        </p:spPr>
        <p:txBody>
          <a:bodyPr/>
          <a:lstStyle/>
          <a:p>
            <a:pPr marL="342900" indent="-342900" eaLnBrk="0" hangingPunct="0"/>
            <a:r>
              <a:rPr lang="cs-CZ" b="1" kern="1200">
                <a:ea typeface="+mn-ea"/>
                <a:cs typeface="+mn-cs"/>
              </a:rPr>
              <a:t>Tunel Heidenau-Großsedlitz</a:t>
            </a:r>
            <a:endParaRPr lang="de-DE" b="1" kern="1200" dirty="0"/>
          </a:p>
          <a:p>
            <a:pPr marL="177800" lvl="1" indent="-176213" eaLnBrk="0" hangingPunct="0">
              <a:spcBef>
                <a:spcPct val="20000"/>
              </a:spcBef>
            </a:pPr>
            <a:r>
              <a:rPr lang="cs-CZ" kern="1200">
                <a:solidFill>
                  <a:srgbClr val="000000"/>
                </a:solidFill>
              </a:rPr>
              <a:t>Běžná technologie stříkaného betonu s otevřenými technologiemi v oblasti nízkého přesahu</a:t>
            </a:r>
          </a:p>
          <a:p>
            <a:pPr marL="177800" lvl="1" indent="-176213" eaLnBrk="0" hangingPunct="0">
              <a:spcBef>
                <a:spcPct val="20000"/>
              </a:spcBef>
            </a:pPr>
            <a:r>
              <a:rPr lang="cs-CZ" kern="1200">
                <a:solidFill>
                  <a:srgbClr val="000000"/>
                </a:solidFill>
              </a:rPr>
              <a:t>Ražení může probíhat na několika vstupních místech zároveň</a:t>
            </a:r>
          </a:p>
          <a:p>
            <a:pPr marL="177800" lvl="1" indent="-176213" eaLnBrk="0" hangingPunct="0">
              <a:spcBef>
                <a:spcPct val="20000"/>
              </a:spcBef>
            </a:pPr>
            <a:endParaRPr lang="de-DE" kern="1200" dirty="0">
              <a:solidFill>
                <a:srgbClr val="000000"/>
              </a:solidFill>
            </a:endParaRPr>
          </a:p>
          <a:p>
            <a:pPr marL="177800" lvl="1" indent="-176213" eaLnBrk="0" hangingPunct="0">
              <a:spcBef>
                <a:spcPct val="20000"/>
              </a:spcBef>
            </a:pPr>
            <a:endParaRPr lang="de-DE" kern="1200" dirty="0">
              <a:solidFill>
                <a:srgbClr val="000000"/>
              </a:solidFill>
            </a:endParaRPr>
          </a:p>
          <a:p>
            <a:pPr marL="342900" indent="-342900" eaLnBrk="0" hangingPunct="0"/>
            <a:r>
              <a:rPr lang="cs-CZ" b="1" kern="1200">
                <a:ea typeface="+mn-ea"/>
                <a:cs typeface="+mn-cs"/>
              </a:rPr>
              <a:t>Základní tunel – Krušnohorský tunel</a:t>
            </a:r>
          </a:p>
          <a:p>
            <a:pPr marL="177800" lvl="1" indent="-176213" eaLnBrk="0" hangingPunct="0">
              <a:spcBef>
                <a:spcPct val="20000"/>
              </a:spcBef>
            </a:pPr>
            <a:r>
              <a:rPr lang="cs-CZ" kern="1200">
                <a:solidFill>
                  <a:srgbClr val="000000"/>
                </a:solidFill>
              </a:rPr>
              <a:t>V zásadě je možná běžná technologie stříkaného betonu a strojové ražení</a:t>
            </a:r>
          </a:p>
          <a:p>
            <a:pPr marL="177800" lvl="1" indent="-176213" eaLnBrk="0" hangingPunct="0">
              <a:spcBef>
                <a:spcPct val="20000"/>
              </a:spcBef>
            </a:pPr>
            <a:r>
              <a:rPr lang="cs-CZ" kern="1200">
                <a:solidFill>
                  <a:srgbClr val="000000"/>
                </a:solidFill>
              </a:rPr>
              <a:t>Kvůli délce a geologickým podmínkám je pravděpodobný strojově ražený tunel</a:t>
            </a:r>
          </a:p>
          <a:p>
            <a:pPr marL="177800" lvl="1" indent="-176213" eaLnBrk="0" hangingPunct="0">
              <a:spcBef>
                <a:spcPct val="20000"/>
              </a:spcBef>
            </a:pPr>
            <a:r>
              <a:rPr lang="cs-CZ" kern="1200">
                <a:solidFill>
                  <a:srgbClr val="000000"/>
                </a:solidFill>
              </a:rPr>
              <a:t>Otevřená technologie v oblasti nízkého přesahu</a:t>
            </a:r>
          </a:p>
          <a:p>
            <a:pPr marL="177800" lvl="1" indent="-176213" eaLnBrk="0" hangingPunct="0">
              <a:spcBef>
                <a:spcPct val="20000"/>
              </a:spcBef>
            </a:pPr>
            <a:r>
              <a:rPr lang="cs-CZ" kern="1200">
                <a:solidFill>
                  <a:srgbClr val="000000"/>
                </a:solidFill>
              </a:rPr>
              <a:t>Na závěr volba metody ražení/ -strojní v závislosti na detailně prozkoumaných geotechnických, geologických a hydrogeologických poměrech</a:t>
            </a:r>
          </a:p>
          <a:p>
            <a:pPr marL="177800" lvl="1" indent="-176213" eaLnBrk="0" hangingPunct="0">
              <a:spcBef>
                <a:spcPct val="20000"/>
              </a:spcBef>
            </a:pPr>
            <a:r>
              <a:rPr lang="cs-CZ" kern="1200">
                <a:solidFill>
                  <a:srgbClr val="000000"/>
                </a:solidFill>
              </a:rPr>
              <a:t>Příčné chodby a přístupové štoly pomocí technologie stříkaného betonu</a:t>
            </a:r>
          </a:p>
          <a:p>
            <a:pPr marL="177800" lvl="1" indent="-176213" eaLnBrk="0" hangingPunct="0">
              <a:spcBef>
                <a:spcPct val="20000"/>
              </a:spcBef>
            </a:pPr>
            <a:endParaRPr lang="de-DE" kern="1200" dirty="0">
              <a:solidFill>
                <a:srgbClr val="000000"/>
              </a:solidFill>
            </a:endParaRPr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20B67B-39C5-484C-9DF4-FAC69F417C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cs-CZ"/>
              <a:t>DB Netz AG | Kay Müller | Informace k HSL v Česku| 28.11.2019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C3C03E4B-50EB-40B3-B8E5-186F85C15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" y="403200"/>
            <a:ext cx="9504000" cy="792000"/>
          </a:xfrm>
        </p:spPr>
        <p:txBody>
          <a:bodyPr/>
          <a:lstStyle/>
          <a:p>
            <a:r>
              <a:rPr lang="cs-CZ" b="1"/>
              <a:t>Nový úsek tratě Drážďany – Praha </a:t>
            </a:r>
            <a:r>
              <a:rPr lang="cs-CZ"/>
              <a:t>-</a:t>
            </a:r>
            <a:br>
              <a:rPr lang="cs-CZ"/>
            </a:br>
            <a:r>
              <a:rPr lang="cs-CZ"/>
              <a:t>První výsledky předběžného šetření</a:t>
            </a:r>
          </a:p>
        </p:txBody>
      </p:sp>
      <p:sp>
        <p:nvSpPr>
          <p:cNvPr id="7" name="Foliennummernplatzhalter 4">
            <a:extLst>
              <a:ext uri="{FF2B5EF4-FFF2-40B4-BE49-F238E27FC236}">
                <a16:creationId xmlns:a16="http://schemas.microsoft.com/office/drawing/2014/main" id="{008A036D-4A43-4CE5-9146-F18CB83C4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798A07C7-D735-4B2E-ADA5-AE35FF5852AD}" type="slidenum">
              <a:rPr lang="de-DE" altLang="de-DE" smtClean="0"/>
              <a:pPr>
                <a:defRPr/>
              </a:pPr>
              <a:t>10</a:t>
            </a:fld>
            <a:endParaRPr lang="de-DE" altLang="de-DE" sz="900" dirty="0"/>
          </a:p>
        </p:txBody>
      </p:sp>
    </p:spTree>
    <p:extLst>
      <p:ext uri="{BB962C8B-B14F-4D97-AF65-F5344CB8AC3E}">
        <p14:creationId xmlns:p14="http://schemas.microsoft.com/office/powerpoint/2010/main" val="41430728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afik 36">
            <a:extLst>
              <a:ext uri="{FF2B5EF4-FFF2-40B4-BE49-F238E27FC236}">
                <a16:creationId xmlns:a16="http://schemas.microsoft.com/office/drawing/2014/main" id="{F8CC1B19-1BEB-45F1-B69B-5A4F3E7505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8000" y="4026148"/>
            <a:ext cx="4680000" cy="1211952"/>
          </a:xfrm>
          <a:prstGeom prst="rect">
            <a:avLst/>
          </a:prstGeom>
        </p:spPr>
      </p:pic>
      <p:sp>
        <p:nvSpPr>
          <p:cNvPr id="55298" name="Titel 1">
            <a:extLst>
              <a:ext uri="{FF2B5EF4-FFF2-40B4-BE49-F238E27FC236}">
                <a16:creationId xmlns:a16="http://schemas.microsoft.com/office/drawing/2014/main" id="{D3F60512-EDC4-4233-AE31-9B011BFC51D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 rIns="0"/>
          <a:lstStyle/>
          <a:p>
            <a:pPr eaLnBrk="1" hangingPunct="1"/>
            <a:r>
              <a:rPr lang="cs-CZ"/>
              <a:t>Provozní program EBWU odpovídá </a:t>
            </a:r>
            <a:br>
              <a:rPr lang="cs-CZ"/>
            </a:br>
            <a:r>
              <a:rPr lang="cs-CZ"/>
              <a:t>odsouhlasenému počtu vlaků (scénář „vyměřovací základ“)</a:t>
            </a:r>
          </a:p>
        </p:txBody>
      </p:sp>
      <p:sp>
        <p:nvSpPr>
          <p:cNvPr id="47" name="Inhaltsplatzhalter 4">
            <a:extLst>
              <a:ext uri="{FF2B5EF4-FFF2-40B4-BE49-F238E27FC236}">
                <a16:creationId xmlns:a16="http://schemas.microsoft.com/office/drawing/2014/main" id="{C5F2A4A1-EDF0-4D9D-A69A-118E45AF91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b="1" dirty="0"/>
          </a:p>
          <a:p>
            <a:r>
              <a:rPr lang="cs-CZ" b="1">
                <a:ea typeface="+mn-ea"/>
                <a:cs typeface="+mn-cs"/>
              </a:rPr>
              <a:t>Směr 1: Drážďany–Praha</a:t>
            </a:r>
            <a:endParaRPr lang="de-DE" dirty="0"/>
          </a:p>
          <a:p>
            <a:r>
              <a:rPr lang="cs-CZ">
                <a:ea typeface="+mn-ea"/>
                <a:cs typeface="+mn-cs"/>
              </a:rPr>
              <a:t>Denní doba 6–22 hodin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cs-CZ">
                <a:ea typeface="+mn-ea"/>
                <a:cs typeface="+mn-cs"/>
              </a:rPr>
              <a:t>Noční doba 22–6 hodin</a:t>
            </a:r>
          </a:p>
        </p:txBody>
      </p:sp>
      <p:sp>
        <p:nvSpPr>
          <p:cNvPr id="55299" name="Foliennummernplatzhalter 4">
            <a:extLst>
              <a:ext uri="{FF2B5EF4-FFF2-40B4-BE49-F238E27FC236}">
                <a16:creationId xmlns:a16="http://schemas.microsoft.com/office/drawing/2014/main" id="{0873D00F-4DA5-4348-9C4E-900C3A080B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798A07C7-D735-4B2E-ADA5-AE35FF5852AD}" type="slidenum">
              <a:rPr lang="de-DE" altLang="de-DE" smtClean="0"/>
              <a:pPr>
                <a:defRPr/>
              </a:pPr>
              <a:t>11</a:t>
            </a:fld>
            <a:endParaRPr lang="de-DE" altLang="de-DE" sz="900" dirty="0"/>
          </a:p>
        </p:txBody>
      </p:sp>
      <p:sp>
        <p:nvSpPr>
          <p:cNvPr id="35" name="TK_68">
            <a:extLst>
              <a:ext uri="{FF2B5EF4-FFF2-40B4-BE49-F238E27FC236}">
                <a16:creationId xmlns:a16="http://schemas.microsoft.com/office/drawing/2014/main" id="{DA1EB110-54CC-417A-8C4B-94409481EA0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848475" y="1411288"/>
            <a:ext cx="3052763" cy="2667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  <a:extLst/>
        </p:spPr>
        <p:txBody>
          <a:bodyPr lIns="72000" tIns="0" rIns="36000" bIns="0" anchor="ctr"/>
          <a:lstStyle>
            <a:lvl1pPr algn="ctr"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 algn="ctr"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 algn="ctr"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 algn="ctr"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 algn="ctr" eaLnBrk="0" hangingPunct="0"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>
              <a:defRPr/>
            </a:pPr>
            <a:r>
              <a:rPr lang="cs-CZ" sz="1200" b="1">
                <a:solidFill>
                  <a:schemeClr val="bg1">
                    <a:lumMod val="75000"/>
                  </a:schemeClr>
                </a:solidFill>
              </a:rPr>
              <a:t>Provozní program</a:t>
            </a: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4235C9B4-B8AA-4049-A661-5938C8A6B4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22000" y="2336819"/>
            <a:ext cx="4680000" cy="1205738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9B0AF5F0-3906-458A-A0EB-78778581A9A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8000" y="2357780"/>
            <a:ext cx="4680000" cy="1180876"/>
          </a:xfrm>
          <a:prstGeom prst="rect">
            <a:avLst/>
          </a:prstGeom>
        </p:spPr>
      </p:pic>
      <p:sp>
        <p:nvSpPr>
          <p:cNvPr id="40" name="Textfeld 22">
            <a:extLst>
              <a:ext uri="{FF2B5EF4-FFF2-40B4-BE49-F238E27FC236}">
                <a16:creationId xmlns:a16="http://schemas.microsoft.com/office/drawing/2014/main" id="{A4B51B33-7638-4A4D-B811-21D287ED9B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6203" y="3330089"/>
            <a:ext cx="210185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1pPr>
            <a:lvl2pPr marL="742950" indent="-285750">
              <a:buClr>
                <a:srgbClr val="FF0000"/>
              </a:buClr>
              <a:buSzPct val="85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2pPr>
            <a:lvl3pPr marL="1143000" indent="-228600"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3pPr>
            <a:lvl4pPr marL="1600200" indent="-228600">
              <a:buClr>
                <a:srgbClr val="FF00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4pPr>
            <a:lvl5pPr marL="2057400" indent="-228600"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9pPr>
          </a:lstStyle>
          <a:p>
            <a:r>
              <a:rPr lang="cs-CZ" sz="1000"/>
              <a:t>16          8         51         = 75 vlaků</a:t>
            </a:r>
          </a:p>
        </p:txBody>
      </p:sp>
      <p:sp>
        <p:nvSpPr>
          <p:cNvPr id="41" name="Textfeld 22">
            <a:extLst>
              <a:ext uri="{FF2B5EF4-FFF2-40B4-BE49-F238E27FC236}">
                <a16:creationId xmlns:a16="http://schemas.microsoft.com/office/drawing/2014/main" id="{71B7ACB8-FA8E-4B22-93A7-B737268D6D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6203" y="5010351"/>
            <a:ext cx="125547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1pPr>
            <a:lvl2pPr marL="742950" indent="-285750">
              <a:buClr>
                <a:srgbClr val="FF0000"/>
              </a:buClr>
              <a:buSzPct val="85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2pPr>
            <a:lvl3pPr marL="1143000" indent="-228600"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3pPr>
            <a:lvl4pPr marL="1600200" indent="-228600">
              <a:buClr>
                <a:srgbClr val="FF00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4pPr>
            <a:lvl5pPr marL="2057400" indent="-228600"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9pPr>
          </a:lstStyle>
          <a:p>
            <a:r>
              <a:rPr lang="cs-CZ" sz="1000">
                <a:solidFill>
                  <a:srgbClr val="000000"/>
                </a:solidFill>
              </a:rPr>
              <a:t>24          = 24 vlaků</a:t>
            </a:r>
          </a:p>
        </p:txBody>
      </p:sp>
      <p:sp>
        <p:nvSpPr>
          <p:cNvPr id="42" name="Textfeld 22">
            <a:extLst>
              <a:ext uri="{FF2B5EF4-FFF2-40B4-BE49-F238E27FC236}">
                <a16:creationId xmlns:a16="http://schemas.microsoft.com/office/drawing/2014/main" id="{04A03CA5-50A5-44AF-9CFE-B22091A614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203" y="3318364"/>
            <a:ext cx="210185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1pPr>
            <a:lvl2pPr marL="742950" indent="-285750">
              <a:buClr>
                <a:srgbClr val="FF0000"/>
              </a:buClr>
              <a:buSzPct val="85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2pPr>
            <a:lvl3pPr marL="1143000" indent="-228600"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3pPr>
            <a:lvl4pPr marL="1600200" indent="-228600">
              <a:buClr>
                <a:srgbClr val="FF00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4pPr>
            <a:lvl5pPr marL="2057400" indent="-228600"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9pPr>
          </a:lstStyle>
          <a:p>
            <a:r>
              <a:rPr lang="cs-CZ" sz="1000"/>
              <a:t>16          8         51         = 75 vlaků</a:t>
            </a:r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472B8845-F010-478C-9ED5-30F7159C38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22000" y="4014422"/>
            <a:ext cx="4680000" cy="1193308"/>
          </a:xfrm>
          <a:prstGeom prst="rect">
            <a:avLst/>
          </a:prstGeom>
        </p:spPr>
      </p:pic>
      <p:sp>
        <p:nvSpPr>
          <p:cNvPr id="44" name="Textfeld 22">
            <a:extLst>
              <a:ext uri="{FF2B5EF4-FFF2-40B4-BE49-F238E27FC236}">
                <a16:creationId xmlns:a16="http://schemas.microsoft.com/office/drawing/2014/main" id="{EBB19CA0-F059-4F59-A7CD-268C89B7C9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0203" y="5010351"/>
            <a:ext cx="125547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1pPr>
            <a:lvl2pPr marL="742950" indent="-285750">
              <a:buClr>
                <a:srgbClr val="FF0000"/>
              </a:buClr>
              <a:buSzPct val="85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2pPr>
            <a:lvl3pPr marL="1143000" indent="-228600"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3pPr>
            <a:lvl4pPr marL="1600200" indent="-228600">
              <a:buClr>
                <a:srgbClr val="FF00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4pPr>
            <a:lvl5pPr marL="2057400" indent="-228600"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9pPr>
          </a:lstStyle>
          <a:p>
            <a:r>
              <a:rPr lang="cs-CZ" sz="1000"/>
              <a:t>24          = 24 vlaků</a:t>
            </a:r>
          </a:p>
        </p:txBody>
      </p:sp>
      <p:sp>
        <p:nvSpPr>
          <p:cNvPr id="45" name="ElementText1">
            <a:extLst>
              <a:ext uri="{FF2B5EF4-FFF2-40B4-BE49-F238E27FC236}">
                <a16:creationId xmlns:a16="http://schemas.microsoft.com/office/drawing/2014/main" id="{F9869E73-F516-482D-B078-F4282C95FC1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198438" y="5519715"/>
            <a:ext cx="9502775" cy="4888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>
                <a:solidFill>
                  <a:srgbClr val="FF0000"/>
                </a:solidFill>
              </a:rPr>
              <a:t>FRz = Eurocity</a:t>
            </a:r>
            <a:r>
              <a:rPr lang="cs-CZ" sz="1600">
                <a:solidFill>
                  <a:srgbClr val="878C96"/>
                </a:solidFill>
              </a:rPr>
              <a:t>, </a:t>
            </a:r>
            <a:r>
              <a:rPr lang="cs-CZ" sz="1600">
                <a:solidFill>
                  <a:srgbClr val="92D050"/>
                </a:solidFill>
              </a:rPr>
              <a:t>NRz = regionální expres</a:t>
            </a:r>
            <a:r>
              <a:rPr lang="cs-CZ" sz="1600">
                <a:solidFill>
                  <a:srgbClr val="878C96"/>
                </a:solidFill>
              </a:rPr>
              <a:t>, </a:t>
            </a:r>
            <a:r>
              <a:rPr lang="cs-CZ" sz="1600">
                <a:solidFill>
                  <a:srgbClr val="000066"/>
                </a:solidFill>
              </a:rPr>
              <a:t>NGz = nákladní vlak</a:t>
            </a:r>
          </a:p>
          <a:p>
            <a:r>
              <a:rPr lang="cs-CZ" sz="1600">
                <a:solidFill>
                  <a:srgbClr val="878C96"/>
                </a:solidFill>
              </a:rPr>
              <a:t>Zde znázorněné křivky denního průběhu se vztahují na nový úsek tratě mezi výhybkami (Abzw) u obcí Heidenau a Stradov.</a:t>
            </a:r>
          </a:p>
        </p:txBody>
      </p:sp>
      <p:sp>
        <p:nvSpPr>
          <p:cNvPr id="46" name="masterSource">
            <a:extLst>
              <a:ext uri="{FF2B5EF4-FFF2-40B4-BE49-F238E27FC236}">
                <a16:creationId xmlns:a16="http://schemas.microsoft.com/office/drawing/2014/main" id="{DF5D94D8-DED6-45BD-8EC5-3B31094B97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1613" y="6503988"/>
            <a:ext cx="0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1pPr>
            <a:lvl2pPr marL="742950" indent="-285750">
              <a:buClr>
                <a:srgbClr val="FF0000"/>
              </a:buClr>
              <a:buSzPct val="85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2pPr>
            <a:lvl3pPr marL="1143000" indent="-228600"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3pPr>
            <a:lvl4pPr marL="1600200" indent="-228600">
              <a:buClr>
                <a:srgbClr val="FF00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4pPr>
            <a:lvl5pPr marL="2057400" indent="-228600"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9pPr>
          </a:lstStyle>
          <a:p>
            <a:pPr algn="l" eaLnBrk="1" hangingPunct="1"/>
            <a:r>
              <a:rPr lang="cs-CZ" sz="900">
                <a:solidFill>
                  <a:srgbClr val="010000"/>
                </a:solidFill>
              </a:rPr>
              <a:t>Zdroj grafiky: </a:t>
            </a:r>
            <a:r>
              <a:rPr lang="cs-CZ" sz="900"/>
              <a:t>LUKS</a:t>
            </a:r>
          </a:p>
        </p:txBody>
      </p:sp>
      <p:sp>
        <p:nvSpPr>
          <p:cNvPr id="48" name="Inhaltsplatzhalter 9">
            <a:extLst>
              <a:ext uri="{FF2B5EF4-FFF2-40B4-BE49-F238E27FC236}">
                <a16:creationId xmlns:a16="http://schemas.microsoft.com/office/drawing/2014/main" id="{FC027D8A-1303-410D-B54D-EFF6289569F6}"/>
              </a:ext>
            </a:extLst>
          </p:cNvPr>
          <p:cNvSpPr txBox="1">
            <a:spLocks/>
          </p:cNvSpPr>
          <p:nvPr/>
        </p:nvSpPr>
        <p:spPr>
          <a:xfrm>
            <a:off x="5022000" y="1270775"/>
            <a:ext cx="4680000" cy="51840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+mn-cs"/>
              </a:defRPr>
            </a:lvl1pPr>
            <a:lvl2pPr marL="179388" indent="-179388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2pPr>
            <a:lvl3pPr marL="358775" indent="-179388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3pPr>
            <a:lvl4pPr marL="539750" indent="-179388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4pPr>
            <a:lvl5pPr marL="719138" indent="-179388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DB Office" panose="020B0604020202020204" pitchFamily="34" charset="0"/>
              </a:defRPr>
            </a:lvl5pPr>
            <a:lvl6pPr marL="1185863" indent="-18256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1643063" indent="-18256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100263" indent="-18256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557463" indent="-18256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de-DE" b="1" kern="0" dirty="0"/>
          </a:p>
          <a:p>
            <a:r>
              <a:rPr lang="cs-CZ" b="1" kern="0"/>
              <a:t>Směr 2: Praha–Drážďany</a:t>
            </a:r>
            <a:endParaRPr lang="de-DE" kern="0" dirty="0"/>
          </a:p>
          <a:p>
            <a:r>
              <a:rPr lang="cs-CZ" kern="0"/>
              <a:t>Denní doba 6–22 hodin</a:t>
            </a:r>
          </a:p>
          <a:p>
            <a:endParaRPr lang="de-DE" kern="0" dirty="0"/>
          </a:p>
          <a:p>
            <a:endParaRPr lang="de-DE" kern="0" dirty="0"/>
          </a:p>
          <a:p>
            <a:endParaRPr lang="de-DE" kern="0" dirty="0"/>
          </a:p>
          <a:p>
            <a:endParaRPr lang="de-DE" kern="0" dirty="0"/>
          </a:p>
          <a:p>
            <a:endParaRPr lang="de-DE" kern="0" dirty="0"/>
          </a:p>
          <a:p>
            <a:endParaRPr lang="de-DE" kern="0" dirty="0"/>
          </a:p>
          <a:p>
            <a:endParaRPr lang="de-DE" kern="0" dirty="0"/>
          </a:p>
          <a:p>
            <a:r>
              <a:rPr lang="cs-CZ" kern="0"/>
              <a:t>Noční doba 22–6 hodin</a:t>
            </a:r>
          </a:p>
          <a:p>
            <a:endParaRPr lang="de-DE" kern="0" dirty="0"/>
          </a:p>
          <a:p>
            <a:endParaRPr lang="de-DE" kern="0" dirty="0"/>
          </a:p>
        </p:txBody>
      </p:sp>
      <p:sp>
        <p:nvSpPr>
          <p:cNvPr id="18" name="masterComment">
            <a:extLst>
              <a:ext uri="{FF2B5EF4-FFF2-40B4-BE49-F238E27FC236}">
                <a16:creationId xmlns:a16="http://schemas.microsoft.com/office/drawing/2014/main" id="{FDE94FFF-05CD-49FD-84F3-F111DEC5294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0063187" y="188640"/>
            <a:ext cx="2303148" cy="991792"/>
          </a:xfrm>
          <a:prstGeom prst="wedgeRectCallout">
            <a:avLst>
              <a:gd name="adj1" fmla="val 0"/>
              <a:gd name="adj2" fmla="val 0"/>
            </a:avLst>
          </a:prstGeom>
          <a:solidFill>
            <a:srgbClr val="FDF6B1"/>
          </a:solidFill>
        </p:spPr>
        <p:txBody>
          <a:bodyPr vert="horz" wrap="square" lIns="72000" tIns="72000" rIns="72000" bIns="72000" rtlCol="0" anchor="t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cs-CZ" sz="1100" b="1"/>
              <a:t>SH 28.08.2019:</a:t>
            </a:r>
          </a:p>
          <a:p>
            <a:pPr lvl="1">
              <a:spcBef>
                <a:spcPts val="0"/>
              </a:spcBef>
            </a:pPr>
            <a:r>
              <a:rPr lang="cs-CZ" sz="1100"/>
              <a:t>doplňkově</a:t>
            </a:r>
          </a:p>
          <a:p>
            <a:pPr lvl="1">
              <a:spcBef>
                <a:spcPts val="0"/>
              </a:spcBef>
            </a:pPr>
            <a:r>
              <a:rPr lang="cs-CZ" sz="1100"/>
              <a:t>případně lze vynechat, pokud jsou zdokumentovány počty vlaků na jiném místě</a:t>
            </a:r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5FC65F80-7464-4329-903F-7B61A8B939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cs-CZ"/>
              <a:t>DB Netz AG | Kay Müller | Informace k HSL v Česku| 28.11.2019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Nový úsek tratě Drážďany – Praha</a:t>
            </a:r>
            <a:br>
              <a:rPr lang="cs-CZ"/>
            </a:br>
            <a:r>
              <a:rPr lang="cs-CZ"/>
              <a:t>Agenda</a:t>
            </a:r>
            <a:endParaRPr lang="de-DE" dirty="0"/>
          </a:p>
        </p:txBody>
      </p:sp>
      <p:sp>
        <p:nvSpPr>
          <p:cNvPr id="5" name="Rechteck 4"/>
          <p:cNvSpPr/>
          <p:nvPr>
            <p:custDataLst>
              <p:tags r:id="rId2"/>
            </p:custDataLst>
          </p:nvPr>
        </p:nvSpPr>
        <p:spPr bwMode="auto">
          <a:xfrm>
            <a:off x="0" y="1414486"/>
            <a:ext cx="9901238" cy="5040314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C1154BA-EF19-4E9F-B370-8E74733859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cs-CZ"/>
              <a:t>DB Netz AG | Kay Müller | Informace k HSL v Česku| 28.11.2019</a:t>
            </a:r>
          </a:p>
        </p:txBody>
      </p:sp>
      <p:grpSp>
        <p:nvGrpSpPr>
          <p:cNvPr id="4" name="easyAgenda">
            <a:extLst>
              <a:ext uri="{FF2B5EF4-FFF2-40B4-BE49-F238E27FC236}">
                <a16:creationId xmlns:a16="http://schemas.microsoft.com/office/drawing/2014/main" id="{3595F335-2FF5-4A11-B041-9B6924AA0C16}"/>
              </a:ext>
            </a:extLst>
          </p:cNvPr>
          <p:cNvGrpSpPr/>
          <p:nvPr/>
        </p:nvGrpSpPr>
        <p:grpSpPr>
          <a:xfrm>
            <a:off x="1352600" y="2601048"/>
            <a:ext cx="7776864" cy="2520000"/>
            <a:chOff x="1352600" y="1988840"/>
            <a:chExt cx="7776864" cy="2520000"/>
          </a:xfrm>
        </p:grpSpPr>
        <p:sp>
          <p:nvSpPr>
            <p:cNvPr id="6" name="0_Inhalt_Ebene1"/>
            <p:cNvSpPr txBox="1"/>
            <p:nvPr>
              <p:custDataLst>
                <p:tags r:id="rId3"/>
              </p:custDataLst>
            </p:nvPr>
          </p:nvSpPr>
          <p:spPr>
            <a:xfrm>
              <a:off x="2000672" y="1988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bg2"/>
                  </a:solidFill>
                </a:rPr>
                <a:t>Charakteristika a potenciál</a:t>
              </a: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7" name="0_Nummer_Ebene1"/>
            <p:cNvSpPr txBox="1"/>
            <p:nvPr>
              <p:custDataLst>
                <p:tags r:id="rId4"/>
              </p:custDataLst>
            </p:nvPr>
          </p:nvSpPr>
          <p:spPr>
            <a:xfrm>
              <a:off x="1352600" y="1988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bg2"/>
                  </a:solidFill>
                </a:rPr>
                <a:t>1</a:t>
              </a:r>
              <a:endParaRPr lang="de-DE" sz="2800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4" name="0_Seiten_Ebene1"/>
            <p:cNvSpPr txBox="1"/>
            <p:nvPr>
              <p:custDataLst>
                <p:tags r:id="rId5"/>
              </p:custDataLst>
            </p:nvPr>
          </p:nvSpPr>
          <p:spPr>
            <a:xfrm>
              <a:off x="8553400" y="1988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cxnSp>
          <p:nvCxnSpPr>
            <p:cNvPr id="18" name="0_elemnt_Ebene1">
              <a:extLst>
                <a:ext uri="{FF2B5EF4-FFF2-40B4-BE49-F238E27FC236}">
                  <a16:creationId xmlns:a16="http://schemas.microsoft.com/office/drawing/2014/main" id="{9EE7F911-63E1-43E3-A932-72EF76CC8F74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>
            <a:xfrm>
              <a:off x="2000314" y="2492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1_Inhalt_Ebene1">
              <a:extLst>
                <a:ext uri="{FF2B5EF4-FFF2-40B4-BE49-F238E27FC236}">
                  <a16:creationId xmlns:a16="http://schemas.microsoft.com/office/drawing/2014/main" id="{BF3A8EB0-813D-4F84-9206-F916F16E5759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2000672" y="2636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bg2"/>
                  </a:solidFill>
                </a:rPr>
                <a:t>Územní řízení</a:t>
              </a: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2" name="2_Inhalt_Ebene1">
              <a:extLst>
                <a:ext uri="{FF2B5EF4-FFF2-40B4-BE49-F238E27FC236}">
                  <a16:creationId xmlns:a16="http://schemas.microsoft.com/office/drawing/2014/main" id="{69F33B57-63D5-4376-B8BB-BFA19C894DCA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2000672" y="3284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bg2"/>
                  </a:solidFill>
                </a:rPr>
                <a:t>Stav plánování</a:t>
              </a: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7" name="1_Nummer_Ebene1">
              <a:extLst>
                <a:ext uri="{FF2B5EF4-FFF2-40B4-BE49-F238E27FC236}">
                  <a16:creationId xmlns:a16="http://schemas.microsoft.com/office/drawing/2014/main" id="{521CD184-E69B-494E-A4B4-9A8F59E9B25A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1352600" y="2636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bg2"/>
                  </a:solidFill>
                </a:rPr>
                <a:t>2</a:t>
              </a:r>
              <a:endParaRPr lang="de-DE" sz="2800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8" name="2_Nummer_Ebene1">
              <a:extLst>
                <a:ext uri="{FF2B5EF4-FFF2-40B4-BE49-F238E27FC236}">
                  <a16:creationId xmlns:a16="http://schemas.microsoft.com/office/drawing/2014/main" id="{A37F78AA-1483-4A1D-BB38-200C0B1ABFE9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1352600" y="3284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bg2"/>
                  </a:solidFill>
                </a:rPr>
                <a:t>3</a:t>
              </a:r>
              <a:endParaRPr lang="de-DE" sz="2800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36" name="3_Inhalt_Ebene1_Highlight">
              <a:extLst>
                <a:ext uri="{FF2B5EF4-FFF2-40B4-BE49-F238E27FC236}">
                  <a16:creationId xmlns:a16="http://schemas.microsoft.com/office/drawing/2014/main" id="{79DA904D-0A72-4D72-9065-8DBBFEFCB16A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2000672" y="3932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accent2"/>
                  </a:solidFill>
                </a:rPr>
                <a:t>Výhled</a:t>
              </a:r>
              <a:endParaRPr lang="de-DE" b="1" dirty="0">
                <a:solidFill>
                  <a:schemeClr val="accent2"/>
                </a:solidFill>
                <a:latin typeface="DB Office"/>
              </a:endParaRPr>
            </a:p>
          </p:txBody>
        </p:sp>
        <p:sp>
          <p:nvSpPr>
            <p:cNvPr id="39" name="3_Nummer_Ebene1_Highlight">
              <a:extLst>
                <a:ext uri="{FF2B5EF4-FFF2-40B4-BE49-F238E27FC236}">
                  <a16:creationId xmlns:a16="http://schemas.microsoft.com/office/drawing/2014/main" id="{F26A7DB1-4B8B-4F0B-80E9-9E8429DF616E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1352600" y="3932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accent2"/>
                  </a:solidFill>
                </a:rPr>
                <a:t>4</a:t>
              </a:r>
              <a:endParaRPr lang="de-DE" sz="2800" b="1" dirty="0">
                <a:solidFill>
                  <a:schemeClr val="accent2"/>
                </a:solidFill>
                <a:latin typeface="DB Office"/>
              </a:endParaRPr>
            </a:p>
          </p:txBody>
        </p:sp>
        <p:sp>
          <p:nvSpPr>
            <p:cNvPr id="40" name="1_Seiten_Ebene1">
              <a:extLst>
                <a:ext uri="{FF2B5EF4-FFF2-40B4-BE49-F238E27FC236}">
                  <a16:creationId xmlns:a16="http://schemas.microsoft.com/office/drawing/2014/main" id="{630035D3-552E-449C-B500-325CB3DB8A91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8553400" y="2636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41" name="2_Seiten_Ebene1">
              <a:extLst>
                <a:ext uri="{FF2B5EF4-FFF2-40B4-BE49-F238E27FC236}">
                  <a16:creationId xmlns:a16="http://schemas.microsoft.com/office/drawing/2014/main" id="{BD64678D-975E-4536-92E1-A0F1FF5F685A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8553400" y="3284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45" name="3_Seiten_Ebene1_Highlight">
              <a:extLst>
                <a:ext uri="{FF2B5EF4-FFF2-40B4-BE49-F238E27FC236}">
                  <a16:creationId xmlns:a16="http://schemas.microsoft.com/office/drawing/2014/main" id="{BA0E82B8-256C-4A19-8402-0028050BCA48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8553400" y="3932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accent2"/>
                </a:solidFill>
                <a:latin typeface="DB Office"/>
              </a:endParaRPr>
            </a:p>
          </p:txBody>
        </p:sp>
        <p:cxnSp>
          <p:nvCxnSpPr>
            <p:cNvPr id="46" name="1_elemnt_Ebene1">
              <a:extLst>
                <a:ext uri="{FF2B5EF4-FFF2-40B4-BE49-F238E27FC236}">
                  <a16:creationId xmlns:a16="http://schemas.microsoft.com/office/drawing/2014/main" id="{0D2A30DA-9292-4AC0-B6C3-7056A76995EC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>
            <a:xfrm>
              <a:off x="2000314" y="3140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2_elemnt_Ebene1">
              <a:extLst>
                <a:ext uri="{FF2B5EF4-FFF2-40B4-BE49-F238E27FC236}">
                  <a16:creationId xmlns:a16="http://schemas.microsoft.com/office/drawing/2014/main" id="{599212E3-1854-4247-8E14-86B8ABFFFCCB}"/>
                </a:ext>
              </a:extLst>
            </p:cNvPr>
            <p:cNvCxnSpPr/>
            <p:nvPr>
              <p:custDataLst>
                <p:tags r:id="rId17"/>
              </p:custDataLst>
            </p:nvPr>
          </p:nvCxnSpPr>
          <p:spPr>
            <a:xfrm>
              <a:off x="2000314" y="3788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3_elemnt_Ebene1_Highlight">
              <a:extLst>
                <a:ext uri="{FF2B5EF4-FFF2-40B4-BE49-F238E27FC236}">
                  <a16:creationId xmlns:a16="http://schemas.microsoft.com/office/drawing/2014/main" id="{72A8D3A4-A8BD-4EC4-BAC6-1366BA1A1EFD}"/>
                </a:ext>
              </a:extLst>
            </p:cNvPr>
            <p:cNvCxnSpPr/>
            <p:nvPr>
              <p:custDataLst>
                <p:tags r:id="rId18"/>
              </p:custDataLst>
            </p:nvPr>
          </p:nvCxnSpPr>
          <p:spPr>
            <a:xfrm>
              <a:off x="2000224" y="4436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rgbClr val="FF0000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Foliennummernplatzhalter 4">
            <a:extLst>
              <a:ext uri="{FF2B5EF4-FFF2-40B4-BE49-F238E27FC236}">
                <a16:creationId xmlns:a16="http://schemas.microsoft.com/office/drawing/2014/main" id="{C64BCD4B-C201-4B6E-82E0-3D2E2F3732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798A07C7-D735-4B2E-ADA5-AE35FF5852AD}" type="slidenum">
              <a:rPr lang="de-DE" altLang="de-DE" smtClean="0"/>
              <a:pPr>
                <a:defRPr/>
              </a:pPr>
              <a:t>12</a:t>
            </a:fld>
            <a:endParaRPr lang="de-DE" altLang="de-DE" sz="9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67962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068E0B-4467-405B-AC53-88DC72EFC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Otevřené otázky a další kroky v roce 2020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C22FDBA-25F6-4EA2-9B14-31C6BD67610C}"/>
              </a:ext>
            </a:extLst>
          </p:cNvPr>
          <p:cNvSpPr/>
          <p:nvPr/>
        </p:nvSpPr>
        <p:spPr bwMode="auto">
          <a:xfrm>
            <a:off x="158927" y="1071605"/>
            <a:ext cx="359917" cy="1950880"/>
          </a:xfrm>
          <a:prstGeom prst="rect">
            <a:avLst/>
          </a:prstGeom>
          <a:solidFill>
            <a:srgbClr val="878C96"/>
          </a:solidFill>
          <a:ln w="9525">
            <a:solidFill>
              <a:srgbClr val="C8CDD2"/>
            </a:solidFill>
            <a:miter lim="800000"/>
            <a:headEnd/>
            <a:tailEnd/>
          </a:ln>
          <a:effectLst/>
          <a:extLst/>
        </p:spPr>
        <p:txBody>
          <a:bodyPr vert="vert270" lIns="72000" tIns="0" rIns="0" bIns="0" anchor="ctr" anchorCtr="0"/>
          <a:lstStyle/>
          <a:p>
            <a:pPr marL="88901" marR="0" lvl="0" indent="-88901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80000"/>
              <a:buFontTx/>
              <a:buNone/>
              <a:tabLst>
                <a:tab pos="361957" algn="r"/>
                <a:tab pos="1076347" algn="r"/>
                <a:tab pos="1790736" algn="r"/>
                <a:tab pos="2514650" algn="r"/>
                <a:tab pos="3229040" algn="r"/>
                <a:tab pos="3943428" algn="r"/>
                <a:tab pos="4667343" algn="r"/>
                <a:tab pos="5381732" algn="r"/>
                <a:tab pos="6096121" algn="r"/>
                <a:tab pos="6820036" algn="r"/>
                <a:tab pos="7534425" algn="r"/>
              </a:tabLst>
              <a:defRPr/>
            </a:pPr>
            <a:r>
              <a:rPr kumimoji="0" lang="cs-CZ" sz="1400" b="1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eformální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392A610-A0FE-4150-9226-561DE89ED04E}"/>
              </a:ext>
            </a:extLst>
          </p:cNvPr>
          <p:cNvSpPr/>
          <p:nvPr/>
        </p:nvSpPr>
        <p:spPr bwMode="auto">
          <a:xfrm>
            <a:off x="158926" y="3402268"/>
            <a:ext cx="358076" cy="2047803"/>
          </a:xfrm>
          <a:prstGeom prst="rect">
            <a:avLst/>
          </a:prstGeom>
          <a:solidFill>
            <a:srgbClr val="878C96"/>
          </a:solidFill>
          <a:ln w="9525">
            <a:solidFill>
              <a:srgbClr val="C8CDD2"/>
            </a:solidFill>
            <a:miter lim="800000"/>
            <a:headEnd/>
            <a:tailEnd/>
          </a:ln>
          <a:effectLst/>
          <a:extLst/>
        </p:spPr>
        <p:txBody>
          <a:bodyPr vert="vert270" lIns="72000" tIns="0" rIns="0" bIns="0" anchor="ctr" anchorCtr="0"/>
          <a:lstStyle/>
          <a:p>
            <a:pPr marL="88901" marR="0" lvl="0" indent="-88901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80000"/>
              <a:buFontTx/>
              <a:buNone/>
              <a:tabLst>
                <a:tab pos="361957" algn="r"/>
                <a:tab pos="1076347" algn="r"/>
                <a:tab pos="1790736" algn="r"/>
                <a:tab pos="2514650" algn="r"/>
                <a:tab pos="3229040" algn="r"/>
                <a:tab pos="3943428" algn="r"/>
                <a:tab pos="4667343" algn="r"/>
                <a:tab pos="5381732" algn="r"/>
                <a:tab pos="6096121" algn="r"/>
                <a:tab pos="6820036" algn="r"/>
                <a:tab pos="7534425" algn="r"/>
              </a:tabLst>
              <a:defRPr/>
            </a:pPr>
            <a:r>
              <a:rPr kumimoji="0" lang="cs-CZ" sz="1400" b="1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rmální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FE131F09-E79E-45F2-82CB-4DBEA238E62F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00143" y="974683"/>
            <a:ext cx="7581548" cy="2427584"/>
            <a:chOff x="187778" y="1772816"/>
            <a:chExt cx="7925034" cy="2303464"/>
          </a:xfrm>
        </p:grpSpPr>
        <p:sp>
          <p:nvSpPr>
            <p:cNvPr id="28" name="Line 55" descr="© INSCALE GmbH, 26.05.2010 http://www.presentationload.com/">
              <a:extLst>
                <a:ext uri="{FF2B5EF4-FFF2-40B4-BE49-F238E27FC236}">
                  <a16:creationId xmlns:a16="http://schemas.microsoft.com/office/drawing/2014/main" id="{CCA19E53-EC69-4DD2-AAB3-8A3908B6EDC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062649" y="1772816"/>
              <a:ext cx="0" cy="1943101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Calibri" pitchFamily="34" charset="0"/>
              </a:endParaRPr>
            </a:p>
          </p:txBody>
        </p:sp>
        <p:sp>
          <p:nvSpPr>
            <p:cNvPr id="36" name="Gleichschenkliges Dreieck 35">
              <a:extLst>
                <a:ext uri="{FF2B5EF4-FFF2-40B4-BE49-F238E27FC236}">
                  <a16:creationId xmlns:a16="http://schemas.microsoft.com/office/drawing/2014/main" id="{FE231BFA-A80F-4C40-A853-B864C00841E3}"/>
                </a:ext>
              </a:extLst>
            </p:cNvPr>
            <p:cNvSpPr/>
            <p:nvPr/>
          </p:nvSpPr>
          <p:spPr bwMode="auto">
            <a:xfrm>
              <a:off x="1002917" y="3623951"/>
              <a:ext cx="119461" cy="91966"/>
            </a:xfrm>
            <a:prstGeom prst="triangle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EC31FA49-D172-47CB-B5D0-86DAD7D3E603}"/>
                </a:ext>
              </a:extLst>
            </p:cNvPr>
            <p:cNvSpPr/>
            <p:nvPr/>
          </p:nvSpPr>
          <p:spPr bwMode="auto">
            <a:xfrm>
              <a:off x="187778" y="3715918"/>
              <a:ext cx="792852" cy="3603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0" rIns="0" bIns="0" anchor="ctr" anchorCtr="0"/>
            <a:lstStyle/>
            <a:p>
              <a:pPr marL="88901" marR="0" lvl="0" indent="-88901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FFFF">
                    <a:lumMod val="50000"/>
                  </a:srgbClr>
                </a:buClr>
                <a:buSzPct val="80000"/>
                <a:buFontTx/>
                <a:buNone/>
                <a:tabLst>
                  <a:tab pos="361957" algn="r"/>
                  <a:tab pos="1076347" algn="r"/>
                  <a:tab pos="1790736" algn="r"/>
                  <a:tab pos="2514650" algn="r"/>
                  <a:tab pos="3229040" algn="r"/>
                  <a:tab pos="3943428" algn="r"/>
                  <a:tab pos="4667343" algn="r"/>
                  <a:tab pos="5381732" algn="r"/>
                  <a:tab pos="6096121" algn="r"/>
                  <a:tab pos="6820036" algn="r"/>
                  <a:tab pos="7534425" algn="r"/>
                </a:tabLst>
                <a:defRPr/>
              </a:pPr>
              <a:r>
                <a:rPr kumimoji="0" lang="cs-CZ" sz="1400" b="1" spc="0" normalizeH="0" noProof="1">
                  <a:ln>
                    <a:noFill/>
                  </a:ln>
                  <a:solidFill>
                    <a:srgbClr val="878C96"/>
                  </a:solidFill>
                  <a:effectLst/>
                  <a:uLnTx/>
                  <a:uFillTx/>
                </a:rPr>
                <a:t>Leden</a:t>
              </a:r>
            </a:p>
          </p:txBody>
        </p:sp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30CFBD21-E480-4747-838A-397E0578957E}"/>
                </a:ext>
              </a:extLst>
            </p:cNvPr>
            <p:cNvSpPr/>
            <p:nvPr/>
          </p:nvSpPr>
          <p:spPr bwMode="auto">
            <a:xfrm>
              <a:off x="980630" y="3715918"/>
              <a:ext cx="792852" cy="3603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0" rIns="0" bIns="0" anchor="ctr" anchorCtr="0"/>
            <a:lstStyle/>
            <a:p>
              <a:pPr marL="88901" marR="0" lvl="0" indent="-88901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FFFF">
                    <a:lumMod val="50000"/>
                  </a:srgbClr>
                </a:buClr>
                <a:buSzPct val="80000"/>
                <a:buFontTx/>
                <a:buNone/>
                <a:tabLst>
                  <a:tab pos="361957" algn="r"/>
                  <a:tab pos="1076347" algn="r"/>
                  <a:tab pos="1790736" algn="r"/>
                  <a:tab pos="2514650" algn="r"/>
                  <a:tab pos="3229040" algn="r"/>
                  <a:tab pos="3943428" algn="r"/>
                  <a:tab pos="4667343" algn="r"/>
                  <a:tab pos="5381732" algn="r"/>
                  <a:tab pos="6096121" algn="r"/>
                  <a:tab pos="6820036" algn="r"/>
                  <a:tab pos="7534425" algn="r"/>
                </a:tabLst>
                <a:defRPr/>
              </a:pPr>
              <a:r>
                <a:rPr kumimoji="0" lang="cs-CZ" sz="1400" b="1" spc="0" normalizeH="0" noProof="1">
                  <a:ln>
                    <a:noFill/>
                  </a:ln>
                  <a:solidFill>
                    <a:srgbClr val="878C96"/>
                  </a:solidFill>
                  <a:effectLst/>
                  <a:uLnTx/>
                  <a:uFillTx/>
                </a:rPr>
                <a:t>Únor</a:t>
              </a: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414D65BC-3987-4D58-8F84-C61B7830EB95}"/>
                </a:ext>
              </a:extLst>
            </p:cNvPr>
            <p:cNvSpPr/>
            <p:nvPr/>
          </p:nvSpPr>
          <p:spPr bwMode="auto">
            <a:xfrm>
              <a:off x="1773482" y="3715918"/>
              <a:ext cx="792852" cy="3603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0" rIns="0" bIns="0" anchor="ctr" anchorCtr="0"/>
            <a:lstStyle/>
            <a:p>
              <a:pPr marL="88901" marR="0" lvl="0" indent="-88901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FFFF">
                    <a:lumMod val="50000"/>
                  </a:srgbClr>
                </a:buClr>
                <a:buSzPct val="80000"/>
                <a:buFontTx/>
                <a:buNone/>
                <a:tabLst>
                  <a:tab pos="361957" algn="r"/>
                  <a:tab pos="1076347" algn="r"/>
                  <a:tab pos="1790736" algn="r"/>
                  <a:tab pos="2514650" algn="r"/>
                  <a:tab pos="3229040" algn="r"/>
                  <a:tab pos="3943428" algn="r"/>
                  <a:tab pos="4667343" algn="r"/>
                  <a:tab pos="5381732" algn="r"/>
                  <a:tab pos="6096121" algn="r"/>
                  <a:tab pos="6820036" algn="r"/>
                  <a:tab pos="7534425" algn="r"/>
                </a:tabLst>
                <a:defRPr/>
              </a:pPr>
              <a:r>
                <a:rPr kumimoji="0" lang="cs-CZ" sz="1400" b="1" spc="0" normalizeH="0" noProof="1">
                  <a:ln>
                    <a:noFill/>
                  </a:ln>
                  <a:solidFill>
                    <a:srgbClr val="878C96"/>
                  </a:solidFill>
                  <a:effectLst/>
                  <a:uLnTx/>
                  <a:uFillTx/>
                </a:rPr>
                <a:t>Březen</a:t>
              </a:r>
            </a:p>
          </p:txBody>
        </p: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2BA66747-F3E2-40B4-8032-A99E9CCE67C7}"/>
                </a:ext>
              </a:extLst>
            </p:cNvPr>
            <p:cNvSpPr/>
            <p:nvPr/>
          </p:nvSpPr>
          <p:spPr bwMode="auto">
            <a:xfrm>
              <a:off x="2566333" y="3715918"/>
              <a:ext cx="792852" cy="3603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0" rIns="0" bIns="0" anchor="ctr" anchorCtr="0"/>
            <a:lstStyle/>
            <a:p>
              <a:pPr marL="88901" marR="0" lvl="0" indent="-88901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FFFF">
                    <a:lumMod val="50000"/>
                  </a:srgbClr>
                </a:buClr>
                <a:buSzPct val="80000"/>
                <a:buFontTx/>
                <a:buNone/>
                <a:tabLst>
                  <a:tab pos="361957" algn="r"/>
                  <a:tab pos="1076347" algn="r"/>
                  <a:tab pos="1790736" algn="r"/>
                  <a:tab pos="2514650" algn="r"/>
                  <a:tab pos="3229040" algn="r"/>
                  <a:tab pos="3943428" algn="r"/>
                  <a:tab pos="4667343" algn="r"/>
                  <a:tab pos="5381732" algn="r"/>
                  <a:tab pos="6096121" algn="r"/>
                  <a:tab pos="6820036" algn="r"/>
                  <a:tab pos="7534425" algn="r"/>
                </a:tabLst>
                <a:defRPr/>
              </a:pPr>
              <a:r>
                <a:rPr kumimoji="0" lang="cs-CZ" sz="1400" b="1" spc="0" normalizeH="0" noProof="1">
                  <a:ln>
                    <a:noFill/>
                  </a:ln>
                  <a:solidFill>
                    <a:srgbClr val="878C96"/>
                  </a:solidFill>
                  <a:effectLst/>
                  <a:uLnTx/>
                  <a:uFillTx/>
                </a:rPr>
                <a:t>Duben</a:t>
              </a:r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DB64C1CA-9758-49BB-AB94-DEA4A3544740}"/>
                </a:ext>
              </a:extLst>
            </p:cNvPr>
            <p:cNvSpPr/>
            <p:nvPr/>
          </p:nvSpPr>
          <p:spPr bwMode="auto">
            <a:xfrm>
              <a:off x="3359185" y="3715918"/>
              <a:ext cx="792852" cy="3603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0" rIns="0" bIns="0" anchor="ctr" anchorCtr="0"/>
            <a:lstStyle/>
            <a:p>
              <a:pPr marL="88901" marR="0" lvl="0" indent="-88901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FFFF">
                    <a:lumMod val="50000"/>
                  </a:srgbClr>
                </a:buClr>
                <a:buSzPct val="80000"/>
                <a:buFontTx/>
                <a:buNone/>
                <a:tabLst>
                  <a:tab pos="361957" algn="r"/>
                  <a:tab pos="1076347" algn="r"/>
                  <a:tab pos="1790736" algn="r"/>
                  <a:tab pos="2514650" algn="r"/>
                  <a:tab pos="3229040" algn="r"/>
                  <a:tab pos="3943428" algn="r"/>
                  <a:tab pos="4667343" algn="r"/>
                  <a:tab pos="5381732" algn="r"/>
                  <a:tab pos="6096121" algn="r"/>
                  <a:tab pos="6820036" algn="r"/>
                  <a:tab pos="7534425" algn="r"/>
                </a:tabLst>
                <a:defRPr/>
              </a:pPr>
              <a:r>
                <a:rPr kumimoji="0" lang="cs-CZ" sz="1400" b="1" spc="0" normalizeH="0" noProof="1">
                  <a:ln>
                    <a:noFill/>
                  </a:ln>
                  <a:solidFill>
                    <a:srgbClr val="878C96"/>
                  </a:solidFill>
                  <a:effectLst/>
                  <a:uLnTx/>
                  <a:uFillTx/>
                </a:rPr>
                <a:t>Květen</a:t>
              </a:r>
            </a:p>
          </p:txBody>
        </p:sp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633F761F-3DBA-468A-9420-02F98499FC8B}"/>
                </a:ext>
              </a:extLst>
            </p:cNvPr>
            <p:cNvSpPr/>
            <p:nvPr/>
          </p:nvSpPr>
          <p:spPr bwMode="auto">
            <a:xfrm>
              <a:off x="4152037" y="3715918"/>
              <a:ext cx="792852" cy="3603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0" rIns="0" bIns="0" anchor="ctr" anchorCtr="0"/>
            <a:lstStyle/>
            <a:p>
              <a:pPr marL="88901" marR="0" lvl="0" indent="-88901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FFFF">
                    <a:lumMod val="50000"/>
                  </a:srgbClr>
                </a:buClr>
                <a:buSzPct val="80000"/>
                <a:buFontTx/>
                <a:buNone/>
                <a:tabLst>
                  <a:tab pos="361957" algn="r"/>
                  <a:tab pos="1076347" algn="r"/>
                  <a:tab pos="1790736" algn="r"/>
                  <a:tab pos="2514650" algn="r"/>
                  <a:tab pos="3229040" algn="r"/>
                  <a:tab pos="3943428" algn="r"/>
                  <a:tab pos="4667343" algn="r"/>
                  <a:tab pos="5381732" algn="r"/>
                  <a:tab pos="6096121" algn="r"/>
                  <a:tab pos="6820036" algn="r"/>
                  <a:tab pos="7534425" algn="r"/>
                </a:tabLst>
                <a:defRPr/>
              </a:pPr>
              <a:r>
                <a:rPr kumimoji="0" lang="cs-CZ" sz="1400" b="1" spc="0" normalizeH="0" noProof="1">
                  <a:ln>
                    <a:noFill/>
                  </a:ln>
                  <a:solidFill>
                    <a:srgbClr val="878C96"/>
                  </a:solidFill>
                  <a:effectLst/>
                  <a:uLnTx/>
                  <a:uFillTx/>
                </a:rPr>
                <a:t>Červen</a:t>
              </a:r>
            </a:p>
          </p:txBody>
        </p:sp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E5365322-7E5D-4DFE-B54E-89777559F18D}"/>
                </a:ext>
              </a:extLst>
            </p:cNvPr>
            <p:cNvSpPr/>
            <p:nvPr/>
          </p:nvSpPr>
          <p:spPr bwMode="auto">
            <a:xfrm>
              <a:off x="4944889" y="3715918"/>
              <a:ext cx="792852" cy="3603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0" rIns="0" bIns="0" anchor="ctr" anchorCtr="0"/>
            <a:lstStyle/>
            <a:p>
              <a:pPr marL="88901" marR="0" lvl="0" indent="-88901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FFFF">
                    <a:lumMod val="50000"/>
                  </a:srgbClr>
                </a:buClr>
                <a:buSzPct val="80000"/>
                <a:buFontTx/>
                <a:buNone/>
                <a:tabLst>
                  <a:tab pos="361957" algn="r"/>
                  <a:tab pos="1076347" algn="r"/>
                  <a:tab pos="1790736" algn="r"/>
                  <a:tab pos="2514650" algn="r"/>
                  <a:tab pos="3229040" algn="r"/>
                  <a:tab pos="3943428" algn="r"/>
                  <a:tab pos="4667343" algn="r"/>
                  <a:tab pos="5381732" algn="r"/>
                  <a:tab pos="6096121" algn="r"/>
                  <a:tab pos="6820036" algn="r"/>
                  <a:tab pos="7534425" algn="r"/>
                </a:tabLst>
                <a:defRPr/>
              </a:pPr>
              <a:r>
                <a:rPr kumimoji="0" lang="cs-CZ" sz="1400" b="1" spc="0" normalizeH="0" noProof="1">
                  <a:ln>
                    <a:noFill/>
                  </a:ln>
                  <a:solidFill>
                    <a:srgbClr val="878C96"/>
                  </a:solidFill>
                  <a:effectLst/>
                  <a:uLnTx/>
                  <a:uFillTx/>
                </a:rPr>
                <a:t>Červenec</a:t>
              </a:r>
            </a:p>
          </p:txBody>
        </p:sp>
        <p:sp>
          <p:nvSpPr>
            <p:cNvPr id="74" name="Rechteck 73">
              <a:extLst>
                <a:ext uri="{FF2B5EF4-FFF2-40B4-BE49-F238E27FC236}">
                  <a16:creationId xmlns:a16="http://schemas.microsoft.com/office/drawing/2014/main" id="{E285EA76-E843-4F65-B52C-ECF1E2E969AE}"/>
                </a:ext>
              </a:extLst>
            </p:cNvPr>
            <p:cNvSpPr/>
            <p:nvPr/>
          </p:nvSpPr>
          <p:spPr bwMode="auto">
            <a:xfrm>
              <a:off x="5737740" y="3715918"/>
              <a:ext cx="792852" cy="3603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0" rIns="0" bIns="0" anchor="ctr" anchorCtr="0"/>
            <a:lstStyle/>
            <a:p>
              <a:pPr marL="88901" marR="0" lvl="0" indent="-88901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FFFF">
                    <a:lumMod val="50000"/>
                  </a:srgbClr>
                </a:buClr>
                <a:buSzPct val="80000"/>
                <a:buFontTx/>
                <a:buNone/>
                <a:tabLst>
                  <a:tab pos="361957" algn="r"/>
                  <a:tab pos="1076347" algn="r"/>
                  <a:tab pos="1790736" algn="r"/>
                  <a:tab pos="2514650" algn="r"/>
                  <a:tab pos="3229040" algn="r"/>
                  <a:tab pos="3943428" algn="r"/>
                  <a:tab pos="4667343" algn="r"/>
                  <a:tab pos="5381732" algn="r"/>
                  <a:tab pos="6096121" algn="r"/>
                  <a:tab pos="6820036" algn="r"/>
                  <a:tab pos="7534425" algn="r"/>
                </a:tabLst>
                <a:defRPr/>
              </a:pPr>
              <a:r>
                <a:rPr kumimoji="0" lang="cs-CZ" sz="1400" b="1" spc="0" normalizeH="0" noProof="1">
                  <a:ln>
                    <a:noFill/>
                  </a:ln>
                  <a:solidFill>
                    <a:srgbClr val="878C96"/>
                  </a:solidFill>
                  <a:effectLst/>
                  <a:uLnTx/>
                  <a:uFillTx/>
                </a:rPr>
                <a:t>Srpen</a:t>
              </a: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E9C37215-1308-48D1-9007-CBE72B493772}"/>
                </a:ext>
              </a:extLst>
            </p:cNvPr>
            <p:cNvSpPr/>
            <p:nvPr/>
          </p:nvSpPr>
          <p:spPr bwMode="auto">
            <a:xfrm>
              <a:off x="6530590" y="3715918"/>
              <a:ext cx="831226" cy="3603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0" rIns="0" bIns="0" anchor="ctr" anchorCtr="0"/>
            <a:lstStyle/>
            <a:p>
              <a:pPr marL="88901" marR="0" lvl="0" indent="-88901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FFFF">
                    <a:lumMod val="50000"/>
                  </a:srgbClr>
                </a:buClr>
                <a:buSzPct val="80000"/>
                <a:buFontTx/>
                <a:buNone/>
                <a:tabLst>
                  <a:tab pos="361957" algn="r"/>
                  <a:tab pos="1076347" algn="r"/>
                  <a:tab pos="1790736" algn="r"/>
                  <a:tab pos="2514650" algn="r"/>
                  <a:tab pos="3229040" algn="r"/>
                  <a:tab pos="3943428" algn="r"/>
                  <a:tab pos="4667343" algn="r"/>
                  <a:tab pos="5381732" algn="r"/>
                  <a:tab pos="6096121" algn="r"/>
                  <a:tab pos="6820036" algn="r"/>
                  <a:tab pos="7534425" algn="r"/>
                </a:tabLst>
                <a:defRPr/>
              </a:pPr>
              <a:r>
                <a:rPr kumimoji="0" lang="cs-CZ" sz="1400" b="1" spc="0" normalizeH="0" noProof="1">
                  <a:ln>
                    <a:noFill/>
                  </a:ln>
                  <a:solidFill>
                    <a:srgbClr val="878C96"/>
                  </a:solidFill>
                  <a:effectLst/>
                  <a:uLnTx/>
                  <a:uFillTx/>
                </a:rPr>
                <a:t>Září</a:t>
              </a:r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9BACA7CB-1A0F-46EF-AE98-1E66D351C881}"/>
                </a:ext>
              </a:extLst>
            </p:cNvPr>
            <p:cNvSpPr/>
            <p:nvPr/>
          </p:nvSpPr>
          <p:spPr bwMode="auto">
            <a:xfrm>
              <a:off x="7319961" y="3715918"/>
              <a:ext cx="792851" cy="3603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72000" tIns="0" rIns="0" bIns="0" anchor="ctr" anchorCtr="0"/>
            <a:lstStyle/>
            <a:p>
              <a:pPr marL="88901" marR="0" lvl="0" indent="-88901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FFFF">
                    <a:lumMod val="50000"/>
                  </a:srgbClr>
                </a:buClr>
                <a:buSzPct val="80000"/>
                <a:buFontTx/>
                <a:buNone/>
                <a:tabLst>
                  <a:tab pos="361957" algn="r"/>
                  <a:tab pos="1076347" algn="r"/>
                  <a:tab pos="1790736" algn="r"/>
                  <a:tab pos="2514650" algn="r"/>
                  <a:tab pos="3229040" algn="r"/>
                  <a:tab pos="3943428" algn="r"/>
                  <a:tab pos="4667343" algn="r"/>
                  <a:tab pos="5381732" algn="r"/>
                  <a:tab pos="6096121" algn="r"/>
                  <a:tab pos="6820036" algn="r"/>
                  <a:tab pos="7534425" algn="r"/>
                </a:tabLst>
                <a:defRPr/>
              </a:pPr>
              <a:r>
                <a:rPr kumimoji="0" lang="cs-CZ" sz="1400" b="1" spc="0" normalizeH="0" noProof="1">
                  <a:ln>
                    <a:noFill/>
                  </a:ln>
                  <a:solidFill>
                    <a:srgbClr val="878C96"/>
                  </a:solidFill>
                  <a:effectLst/>
                  <a:uLnTx/>
                  <a:uFillTx/>
                </a:rPr>
                <a:t>Říjen</a:t>
              </a:r>
            </a:p>
          </p:txBody>
        </p:sp>
      </p:grpSp>
      <p:sp>
        <p:nvSpPr>
          <p:cNvPr id="92" name="Textfeld 91">
            <a:extLst>
              <a:ext uri="{FF2B5EF4-FFF2-40B4-BE49-F238E27FC236}">
                <a16:creationId xmlns:a16="http://schemas.microsoft.com/office/drawing/2014/main" id="{01399AFB-1718-4889-B940-ACFD97DDA555}"/>
              </a:ext>
            </a:extLst>
          </p:cNvPr>
          <p:cNvSpPr txBox="1"/>
          <p:nvPr/>
        </p:nvSpPr>
        <p:spPr>
          <a:xfrm>
            <a:off x="1095963" y="980730"/>
            <a:ext cx="902328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>
                <a:srgbClr val="FF0000"/>
              </a:buClr>
              <a:buSzPct val="85000"/>
              <a:defRPr sz="800" b="1">
                <a:solidFill>
                  <a:srgbClr val="F0CD0A"/>
                </a:solidFill>
                <a:latin typeface="DB Sans" panose="020B050205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85000"/>
              <a:buFontTx/>
              <a:buNone/>
              <a:tabLst/>
              <a:defRPr/>
            </a:pPr>
            <a:r>
              <a:rPr kumimoji="0" lang="cs-CZ" spc="0" normalizeH="0" noProof="0">
                <a:ln>
                  <a:noFill/>
                </a:ln>
                <a:effectLst/>
                <a:uLnTx/>
                <a:uFillTx/>
              </a:rPr>
              <a:t>Informační akce MdB/MdL a dále starostové a zemští radové</a:t>
            </a:r>
          </a:p>
        </p:txBody>
      </p: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0F01165A-A42F-4FB7-AD80-7B71DA486CB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845876" y="1030579"/>
            <a:ext cx="189389" cy="129771"/>
            <a:chOff x="1433513" y="2489200"/>
            <a:chExt cx="1071562" cy="614363"/>
          </a:xfrm>
        </p:grpSpPr>
        <p:sp>
          <p:nvSpPr>
            <p:cNvPr id="94" name="Freeform 72">
              <a:extLst>
                <a:ext uri="{FF2B5EF4-FFF2-40B4-BE49-F238E27FC236}">
                  <a16:creationId xmlns:a16="http://schemas.microsoft.com/office/drawing/2014/main" id="{4C56569C-692E-4FC9-8E40-8ED2E2FCA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0700" y="2743200"/>
              <a:ext cx="358775" cy="184150"/>
            </a:xfrm>
            <a:custGeom>
              <a:avLst/>
              <a:gdLst>
                <a:gd name="T0" fmla="*/ 679 w 679"/>
                <a:gd name="T1" fmla="*/ 119 h 347"/>
                <a:gd name="T2" fmla="*/ 671 w 679"/>
                <a:gd name="T3" fmla="*/ 106 h 347"/>
                <a:gd name="T4" fmla="*/ 643 w 679"/>
                <a:gd name="T5" fmla="*/ 75 h 347"/>
                <a:gd name="T6" fmla="*/ 618 w 679"/>
                <a:gd name="T7" fmla="*/ 57 h 347"/>
                <a:gd name="T8" fmla="*/ 587 w 679"/>
                <a:gd name="T9" fmla="*/ 37 h 347"/>
                <a:gd name="T10" fmla="*/ 546 w 679"/>
                <a:gd name="T11" fmla="*/ 19 h 347"/>
                <a:gd name="T12" fmla="*/ 496 w 679"/>
                <a:gd name="T13" fmla="*/ 3 h 347"/>
                <a:gd name="T14" fmla="*/ 475 w 679"/>
                <a:gd name="T15" fmla="*/ 48 h 347"/>
                <a:gd name="T16" fmla="*/ 431 w 679"/>
                <a:gd name="T17" fmla="*/ 128 h 347"/>
                <a:gd name="T18" fmla="*/ 403 w 679"/>
                <a:gd name="T19" fmla="*/ 173 h 347"/>
                <a:gd name="T20" fmla="*/ 392 w 679"/>
                <a:gd name="T21" fmla="*/ 190 h 347"/>
                <a:gd name="T22" fmla="*/ 392 w 679"/>
                <a:gd name="T23" fmla="*/ 155 h 347"/>
                <a:gd name="T24" fmla="*/ 389 w 679"/>
                <a:gd name="T25" fmla="*/ 137 h 347"/>
                <a:gd name="T26" fmla="*/ 377 w 679"/>
                <a:gd name="T27" fmla="*/ 103 h 347"/>
                <a:gd name="T28" fmla="*/ 374 w 679"/>
                <a:gd name="T29" fmla="*/ 90 h 347"/>
                <a:gd name="T30" fmla="*/ 376 w 679"/>
                <a:gd name="T31" fmla="*/ 86 h 347"/>
                <a:gd name="T32" fmla="*/ 384 w 679"/>
                <a:gd name="T33" fmla="*/ 74 h 347"/>
                <a:gd name="T34" fmla="*/ 390 w 679"/>
                <a:gd name="T35" fmla="*/ 65 h 347"/>
                <a:gd name="T36" fmla="*/ 393 w 679"/>
                <a:gd name="T37" fmla="*/ 54 h 347"/>
                <a:gd name="T38" fmla="*/ 393 w 679"/>
                <a:gd name="T39" fmla="*/ 48 h 347"/>
                <a:gd name="T40" fmla="*/ 389 w 679"/>
                <a:gd name="T41" fmla="*/ 40 h 347"/>
                <a:gd name="T42" fmla="*/ 378 w 679"/>
                <a:gd name="T43" fmla="*/ 36 h 347"/>
                <a:gd name="T44" fmla="*/ 353 w 679"/>
                <a:gd name="T45" fmla="*/ 36 h 347"/>
                <a:gd name="T46" fmla="*/ 340 w 679"/>
                <a:gd name="T47" fmla="*/ 36 h 347"/>
                <a:gd name="T48" fmla="*/ 320 w 679"/>
                <a:gd name="T49" fmla="*/ 36 h 347"/>
                <a:gd name="T50" fmla="*/ 308 w 679"/>
                <a:gd name="T51" fmla="*/ 37 h 347"/>
                <a:gd name="T52" fmla="*/ 302 w 679"/>
                <a:gd name="T53" fmla="*/ 44 h 347"/>
                <a:gd name="T54" fmla="*/ 299 w 679"/>
                <a:gd name="T55" fmla="*/ 54 h 347"/>
                <a:gd name="T56" fmla="*/ 301 w 679"/>
                <a:gd name="T57" fmla="*/ 60 h 347"/>
                <a:gd name="T58" fmla="*/ 306 w 679"/>
                <a:gd name="T59" fmla="*/ 70 h 347"/>
                <a:gd name="T60" fmla="*/ 315 w 679"/>
                <a:gd name="T61" fmla="*/ 81 h 347"/>
                <a:gd name="T62" fmla="*/ 318 w 679"/>
                <a:gd name="T63" fmla="*/ 90 h 347"/>
                <a:gd name="T64" fmla="*/ 318 w 679"/>
                <a:gd name="T65" fmla="*/ 97 h 347"/>
                <a:gd name="T66" fmla="*/ 310 w 679"/>
                <a:gd name="T67" fmla="*/ 120 h 347"/>
                <a:gd name="T68" fmla="*/ 302 w 679"/>
                <a:gd name="T69" fmla="*/ 145 h 347"/>
                <a:gd name="T70" fmla="*/ 301 w 679"/>
                <a:gd name="T71" fmla="*/ 155 h 347"/>
                <a:gd name="T72" fmla="*/ 301 w 679"/>
                <a:gd name="T73" fmla="*/ 190 h 347"/>
                <a:gd name="T74" fmla="*/ 274 w 679"/>
                <a:gd name="T75" fmla="*/ 152 h 347"/>
                <a:gd name="T76" fmla="*/ 245 w 679"/>
                <a:gd name="T77" fmla="*/ 99 h 347"/>
                <a:gd name="T78" fmla="*/ 195 w 679"/>
                <a:gd name="T79" fmla="*/ 0 h 347"/>
                <a:gd name="T80" fmla="*/ 167 w 679"/>
                <a:gd name="T81" fmla="*/ 7 h 347"/>
                <a:gd name="T82" fmla="*/ 120 w 679"/>
                <a:gd name="T83" fmla="*/ 25 h 347"/>
                <a:gd name="T84" fmla="*/ 82 w 679"/>
                <a:gd name="T85" fmla="*/ 44 h 347"/>
                <a:gd name="T86" fmla="*/ 53 w 679"/>
                <a:gd name="T87" fmla="*/ 64 h 347"/>
                <a:gd name="T88" fmla="*/ 21 w 679"/>
                <a:gd name="T89" fmla="*/ 91 h 347"/>
                <a:gd name="T90" fmla="*/ 3 w 679"/>
                <a:gd name="T91" fmla="*/ 115 h 347"/>
                <a:gd name="T92" fmla="*/ 0 w 679"/>
                <a:gd name="T93" fmla="*/ 347 h 347"/>
                <a:gd name="T94" fmla="*/ 679 w 679"/>
                <a:gd name="T95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79" h="347">
                  <a:moveTo>
                    <a:pt x="679" y="119"/>
                  </a:moveTo>
                  <a:lnTo>
                    <a:pt x="679" y="119"/>
                  </a:lnTo>
                  <a:lnTo>
                    <a:pt x="678" y="115"/>
                  </a:lnTo>
                  <a:lnTo>
                    <a:pt x="671" y="106"/>
                  </a:lnTo>
                  <a:lnTo>
                    <a:pt x="660" y="93"/>
                  </a:lnTo>
                  <a:lnTo>
                    <a:pt x="643" y="75"/>
                  </a:lnTo>
                  <a:lnTo>
                    <a:pt x="631" y="66"/>
                  </a:lnTo>
                  <a:lnTo>
                    <a:pt x="618" y="57"/>
                  </a:lnTo>
                  <a:lnTo>
                    <a:pt x="604" y="46"/>
                  </a:lnTo>
                  <a:lnTo>
                    <a:pt x="587" y="37"/>
                  </a:lnTo>
                  <a:lnTo>
                    <a:pt x="568" y="28"/>
                  </a:lnTo>
                  <a:lnTo>
                    <a:pt x="546" y="19"/>
                  </a:lnTo>
                  <a:lnTo>
                    <a:pt x="522" y="11"/>
                  </a:lnTo>
                  <a:lnTo>
                    <a:pt x="496" y="3"/>
                  </a:lnTo>
                  <a:lnTo>
                    <a:pt x="496" y="3"/>
                  </a:lnTo>
                  <a:lnTo>
                    <a:pt x="475" y="48"/>
                  </a:lnTo>
                  <a:lnTo>
                    <a:pt x="447" y="102"/>
                  </a:lnTo>
                  <a:lnTo>
                    <a:pt x="431" y="128"/>
                  </a:lnTo>
                  <a:lnTo>
                    <a:pt x="418" y="152"/>
                  </a:lnTo>
                  <a:lnTo>
                    <a:pt x="403" y="173"/>
                  </a:lnTo>
                  <a:lnTo>
                    <a:pt x="392" y="190"/>
                  </a:lnTo>
                  <a:lnTo>
                    <a:pt x="392" y="190"/>
                  </a:lnTo>
                  <a:lnTo>
                    <a:pt x="392" y="155"/>
                  </a:lnTo>
                  <a:lnTo>
                    <a:pt x="392" y="155"/>
                  </a:lnTo>
                  <a:lnTo>
                    <a:pt x="392" y="145"/>
                  </a:lnTo>
                  <a:lnTo>
                    <a:pt x="389" y="137"/>
                  </a:lnTo>
                  <a:lnTo>
                    <a:pt x="384" y="120"/>
                  </a:lnTo>
                  <a:lnTo>
                    <a:pt x="377" y="103"/>
                  </a:lnTo>
                  <a:lnTo>
                    <a:pt x="376" y="97"/>
                  </a:lnTo>
                  <a:lnTo>
                    <a:pt x="374" y="90"/>
                  </a:lnTo>
                  <a:lnTo>
                    <a:pt x="374" y="90"/>
                  </a:lnTo>
                  <a:lnTo>
                    <a:pt x="376" y="86"/>
                  </a:lnTo>
                  <a:lnTo>
                    <a:pt x="377" y="81"/>
                  </a:lnTo>
                  <a:lnTo>
                    <a:pt x="384" y="74"/>
                  </a:lnTo>
                  <a:lnTo>
                    <a:pt x="388" y="70"/>
                  </a:lnTo>
                  <a:lnTo>
                    <a:pt x="390" y="65"/>
                  </a:lnTo>
                  <a:lnTo>
                    <a:pt x="393" y="60"/>
                  </a:lnTo>
                  <a:lnTo>
                    <a:pt x="393" y="54"/>
                  </a:lnTo>
                  <a:lnTo>
                    <a:pt x="393" y="54"/>
                  </a:lnTo>
                  <a:lnTo>
                    <a:pt x="393" y="48"/>
                  </a:lnTo>
                  <a:lnTo>
                    <a:pt x="392" y="44"/>
                  </a:lnTo>
                  <a:lnTo>
                    <a:pt x="389" y="40"/>
                  </a:lnTo>
                  <a:lnTo>
                    <a:pt x="384" y="37"/>
                  </a:lnTo>
                  <a:lnTo>
                    <a:pt x="378" y="36"/>
                  </a:lnTo>
                  <a:lnTo>
                    <a:pt x="372" y="36"/>
                  </a:lnTo>
                  <a:lnTo>
                    <a:pt x="353" y="36"/>
                  </a:lnTo>
                  <a:lnTo>
                    <a:pt x="353" y="36"/>
                  </a:lnTo>
                  <a:lnTo>
                    <a:pt x="340" y="36"/>
                  </a:lnTo>
                  <a:lnTo>
                    <a:pt x="340" y="36"/>
                  </a:lnTo>
                  <a:lnTo>
                    <a:pt x="320" y="36"/>
                  </a:lnTo>
                  <a:lnTo>
                    <a:pt x="314" y="36"/>
                  </a:lnTo>
                  <a:lnTo>
                    <a:pt x="308" y="37"/>
                  </a:lnTo>
                  <a:lnTo>
                    <a:pt x="305" y="40"/>
                  </a:lnTo>
                  <a:lnTo>
                    <a:pt x="302" y="44"/>
                  </a:lnTo>
                  <a:lnTo>
                    <a:pt x="301" y="48"/>
                  </a:lnTo>
                  <a:lnTo>
                    <a:pt x="299" y="54"/>
                  </a:lnTo>
                  <a:lnTo>
                    <a:pt x="299" y="54"/>
                  </a:lnTo>
                  <a:lnTo>
                    <a:pt x="301" y="60"/>
                  </a:lnTo>
                  <a:lnTo>
                    <a:pt x="302" y="65"/>
                  </a:lnTo>
                  <a:lnTo>
                    <a:pt x="306" y="70"/>
                  </a:lnTo>
                  <a:lnTo>
                    <a:pt x="308" y="74"/>
                  </a:lnTo>
                  <a:lnTo>
                    <a:pt x="315" y="81"/>
                  </a:lnTo>
                  <a:lnTo>
                    <a:pt x="318" y="86"/>
                  </a:lnTo>
                  <a:lnTo>
                    <a:pt x="318" y="90"/>
                  </a:lnTo>
                  <a:lnTo>
                    <a:pt x="318" y="90"/>
                  </a:lnTo>
                  <a:lnTo>
                    <a:pt x="318" y="97"/>
                  </a:lnTo>
                  <a:lnTo>
                    <a:pt x="315" y="103"/>
                  </a:lnTo>
                  <a:lnTo>
                    <a:pt x="310" y="120"/>
                  </a:lnTo>
                  <a:lnTo>
                    <a:pt x="303" y="137"/>
                  </a:lnTo>
                  <a:lnTo>
                    <a:pt x="302" y="145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301" y="190"/>
                  </a:lnTo>
                  <a:lnTo>
                    <a:pt x="301" y="190"/>
                  </a:lnTo>
                  <a:lnTo>
                    <a:pt x="289" y="173"/>
                  </a:lnTo>
                  <a:lnTo>
                    <a:pt x="274" y="152"/>
                  </a:lnTo>
                  <a:lnTo>
                    <a:pt x="260" y="127"/>
                  </a:lnTo>
                  <a:lnTo>
                    <a:pt x="245" y="99"/>
                  </a:lnTo>
                  <a:lnTo>
                    <a:pt x="218" y="45"/>
                  </a:lnTo>
                  <a:lnTo>
                    <a:pt x="195" y="0"/>
                  </a:lnTo>
                  <a:lnTo>
                    <a:pt x="195" y="0"/>
                  </a:lnTo>
                  <a:lnTo>
                    <a:pt x="167" y="7"/>
                  </a:lnTo>
                  <a:lnTo>
                    <a:pt x="144" y="16"/>
                  </a:lnTo>
                  <a:lnTo>
                    <a:pt x="120" y="25"/>
                  </a:lnTo>
                  <a:lnTo>
                    <a:pt x="100" y="35"/>
                  </a:lnTo>
                  <a:lnTo>
                    <a:pt x="82" y="44"/>
                  </a:lnTo>
                  <a:lnTo>
                    <a:pt x="66" y="54"/>
                  </a:lnTo>
                  <a:lnTo>
                    <a:pt x="53" y="64"/>
                  </a:lnTo>
                  <a:lnTo>
                    <a:pt x="41" y="73"/>
                  </a:lnTo>
                  <a:lnTo>
                    <a:pt x="21" y="91"/>
                  </a:lnTo>
                  <a:lnTo>
                    <a:pt x="9" y="106"/>
                  </a:lnTo>
                  <a:lnTo>
                    <a:pt x="3" y="115"/>
                  </a:lnTo>
                  <a:lnTo>
                    <a:pt x="0" y="119"/>
                  </a:lnTo>
                  <a:lnTo>
                    <a:pt x="0" y="347"/>
                  </a:lnTo>
                  <a:lnTo>
                    <a:pt x="340" y="347"/>
                  </a:lnTo>
                  <a:lnTo>
                    <a:pt x="679" y="347"/>
                  </a:lnTo>
                  <a:lnTo>
                    <a:pt x="679" y="119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95" name="Freeform 73">
              <a:extLst>
                <a:ext uri="{FF2B5EF4-FFF2-40B4-BE49-F238E27FC236}">
                  <a16:creationId xmlns:a16="http://schemas.microsoft.com/office/drawing/2014/main" id="{6BB9A09C-44A6-4FE9-BBA6-DE1833A3A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3250" y="2489200"/>
              <a:ext cx="195262" cy="255588"/>
            </a:xfrm>
            <a:custGeom>
              <a:avLst/>
              <a:gdLst>
                <a:gd name="T0" fmla="*/ 361 w 370"/>
                <a:gd name="T1" fmla="*/ 211 h 484"/>
                <a:gd name="T2" fmla="*/ 359 w 370"/>
                <a:gd name="T3" fmla="*/ 211 h 484"/>
                <a:gd name="T4" fmla="*/ 361 w 370"/>
                <a:gd name="T5" fmla="*/ 203 h 484"/>
                <a:gd name="T6" fmla="*/ 357 w 370"/>
                <a:gd name="T7" fmla="*/ 156 h 484"/>
                <a:gd name="T8" fmla="*/ 345 w 370"/>
                <a:gd name="T9" fmla="*/ 115 h 484"/>
                <a:gd name="T10" fmla="*/ 328 w 370"/>
                <a:gd name="T11" fmla="*/ 79 h 484"/>
                <a:gd name="T12" fmla="*/ 304 w 370"/>
                <a:gd name="T13" fmla="*/ 51 h 484"/>
                <a:gd name="T14" fmla="*/ 278 w 370"/>
                <a:gd name="T15" fmla="*/ 29 h 484"/>
                <a:gd name="T16" fmla="*/ 247 w 370"/>
                <a:gd name="T17" fmla="*/ 13 h 484"/>
                <a:gd name="T18" fmla="*/ 216 w 370"/>
                <a:gd name="T19" fmla="*/ 3 h 484"/>
                <a:gd name="T20" fmla="*/ 184 w 370"/>
                <a:gd name="T21" fmla="*/ 0 h 484"/>
                <a:gd name="T22" fmla="*/ 167 w 370"/>
                <a:gd name="T23" fmla="*/ 0 h 484"/>
                <a:gd name="T24" fmla="*/ 135 w 370"/>
                <a:gd name="T25" fmla="*/ 7 h 484"/>
                <a:gd name="T26" fmla="*/ 104 w 370"/>
                <a:gd name="T27" fmla="*/ 20 h 484"/>
                <a:gd name="T28" fmla="*/ 76 w 370"/>
                <a:gd name="T29" fmla="*/ 40 h 484"/>
                <a:gd name="T30" fmla="*/ 51 w 370"/>
                <a:gd name="T31" fmla="*/ 65 h 484"/>
                <a:gd name="T32" fmla="*/ 31 w 370"/>
                <a:gd name="T33" fmla="*/ 96 h 484"/>
                <a:gd name="T34" fmla="*/ 15 w 370"/>
                <a:gd name="T35" fmla="*/ 135 h 484"/>
                <a:gd name="T36" fmla="*/ 7 w 370"/>
                <a:gd name="T37" fmla="*/ 178 h 484"/>
                <a:gd name="T38" fmla="*/ 7 w 370"/>
                <a:gd name="T39" fmla="*/ 203 h 484"/>
                <a:gd name="T40" fmla="*/ 7 w 370"/>
                <a:gd name="T41" fmla="*/ 212 h 484"/>
                <a:gd name="T42" fmla="*/ 2 w 370"/>
                <a:gd name="T43" fmla="*/ 218 h 484"/>
                <a:gd name="T44" fmla="*/ 0 w 370"/>
                <a:gd name="T45" fmla="*/ 230 h 484"/>
                <a:gd name="T46" fmla="*/ 2 w 370"/>
                <a:gd name="T47" fmla="*/ 264 h 484"/>
                <a:gd name="T48" fmla="*/ 11 w 370"/>
                <a:gd name="T49" fmla="*/ 299 h 484"/>
                <a:gd name="T50" fmla="*/ 19 w 370"/>
                <a:gd name="T51" fmla="*/ 311 h 484"/>
                <a:gd name="T52" fmla="*/ 27 w 370"/>
                <a:gd name="T53" fmla="*/ 317 h 484"/>
                <a:gd name="T54" fmla="*/ 34 w 370"/>
                <a:gd name="T55" fmla="*/ 334 h 484"/>
                <a:gd name="T56" fmla="*/ 48 w 370"/>
                <a:gd name="T57" fmla="*/ 367 h 484"/>
                <a:gd name="T58" fmla="*/ 64 w 370"/>
                <a:gd name="T59" fmla="*/ 396 h 484"/>
                <a:gd name="T60" fmla="*/ 84 w 370"/>
                <a:gd name="T61" fmla="*/ 424 h 484"/>
                <a:gd name="T62" fmla="*/ 104 w 370"/>
                <a:gd name="T63" fmla="*/ 446 h 484"/>
                <a:gd name="T64" fmla="*/ 126 w 370"/>
                <a:gd name="T65" fmla="*/ 464 h 484"/>
                <a:gd name="T66" fmla="*/ 149 w 370"/>
                <a:gd name="T67" fmla="*/ 476 h 484"/>
                <a:gd name="T68" fmla="*/ 172 w 370"/>
                <a:gd name="T69" fmla="*/ 483 h 484"/>
                <a:gd name="T70" fmla="*/ 184 w 370"/>
                <a:gd name="T71" fmla="*/ 484 h 484"/>
                <a:gd name="T72" fmla="*/ 207 w 370"/>
                <a:gd name="T73" fmla="*/ 480 h 484"/>
                <a:gd name="T74" fmla="*/ 230 w 370"/>
                <a:gd name="T75" fmla="*/ 471 h 484"/>
                <a:gd name="T76" fmla="*/ 253 w 370"/>
                <a:gd name="T77" fmla="*/ 455 h 484"/>
                <a:gd name="T78" fmla="*/ 274 w 370"/>
                <a:gd name="T79" fmla="*/ 435 h 484"/>
                <a:gd name="T80" fmla="*/ 294 w 370"/>
                <a:gd name="T81" fmla="*/ 410 h 484"/>
                <a:gd name="T82" fmla="*/ 311 w 370"/>
                <a:gd name="T83" fmla="*/ 383 h 484"/>
                <a:gd name="T84" fmla="*/ 327 w 370"/>
                <a:gd name="T85" fmla="*/ 351 h 484"/>
                <a:gd name="T86" fmla="*/ 340 w 370"/>
                <a:gd name="T87" fmla="*/ 317 h 484"/>
                <a:gd name="T88" fmla="*/ 341 w 370"/>
                <a:gd name="T89" fmla="*/ 318 h 484"/>
                <a:gd name="T90" fmla="*/ 345 w 370"/>
                <a:gd name="T91" fmla="*/ 317 h 484"/>
                <a:gd name="T92" fmla="*/ 353 w 370"/>
                <a:gd name="T93" fmla="*/ 307 h 484"/>
                <a:gd name="T94" fmla="*/ 362 w 370"/>
                <a:gd name="T95" fmla="*/ 284 h 484"/>
                <a:gd name="T96" fmla="*/ 370 w 370"/>
                <a:gd name="T97" fmla="*/ 245 h 484"/>
                <a:gd name="T98" fmla="*/ 369 w 370"/>
                <a:gd name="T99" fmla="*/ 222 h 484"/>
                <a:gd name="T100" fmla="*/ 363 w 370"/>
                <a:gd name="T101" fmla="*/ 212 h 484"/>
                <a:gd name="T102" fmla="*/ 361 w 370"/>
                <a:gd name="T103" fmla="*/ 211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70" h="484">
                  <a:moveTo>
                    <a:pt x="361" y="211"/>
                  </a:moveTo>
                  <a:lnTo>
                    <a:pt x="361" y="211"/>
                  </a:lnTo>
                  <a:lnTo>
                    <a:pt x="359" y="211"/>
                  </a:lnTo>
                  <a:lnTo>
                    <a:pt x="359" y="211"/>
                  </a:lnTo>
                  <a:lnTo>
                    <a:pt x="361" y="203"/>
                  </a:lnTo>
                  <a:lnTo>
                    <a:pt x="361" y="203"/>
                  </a:lnTo>
                  <a:lnTo>
                    <a:pt x="359" y="178"/>
                  </a:lnTo>
                  <a:lnTo>
                    <a:pt x="357" y="156"/>
                  </a:lnTo>
                  <a:lnTo>
                    <a:pt x="352" y="135"/>
                  </a:lnTo>
                  <a:lnTo>
                    <a:pt x="345" y="115"/>
                  </a:lnTo>
                  <a:lnTo>
                    <a:pt x="337" y="96"/>
                  </a:lnTo>
                  <a:lnTo>
                    <a:pt x="328" y="79"/>
                  </a:lnTo>
                  <a:lnTo>
                    <a:pt x="316" y="65"/>
                  </a:lnTo>
                  <a:lnTo>
                    <a:pt x="304" y="51"/>
                  </a:lnTo>
                  <a:lnTo>
                    <a:pt x="292" y="40"/>
                  </a:lnTo>
                  <a:lnTo>
                    <a:pt x="278" y="29"/>
                  </a:lnTo>
                  <a:lnTo>
                    <a:pt x="263" y="20"/>
                  </a:lnTo>
                  <a:lnTo>
                    <a:pt x="247" y="13"/>
                  </a:lnTo>
                  <a:lnTo>
                    <a:pt x="233" y="7"/>
                  </a:lnTo>
                  <a:lnTo>
                    <a:pt x="216" y="3"/>
                  </a:lnTo>
                  <a:lnTo>
                    <a:pt x="200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67" y="0"/>
                  </a:lnTo>
                  <a:lnTo>
                    <a:pt x="151" y="3"/>
                  </a:lnTo>
                  <a:lnTo>
                    <a:pt x="135" y="7"/>
                  </a:lnTo>
                  <a:lnTo>
                    <a:pt x="120" y="13"/>
                  </a:lnTo>
                  <a:lnTo>
                    <a:pt x="104" y="20"/>
                  </a:lnTo>
                  <a:lnTo>
                    <a:pt x="89" y="29"/>
                  </a:lnTo>
                  <a:lnTo>
                    <a:pt x="76" y="40"/>
                  </a:lnTo>
                  <a:lnTo>
                    <a:pt x="63" y="51"/>
                  </a:lnTo>
                  <a:lnTo>
                    <a:pt x="51" y="65"/>
                  </a:lnTo>
                  <a:lnTo>
                    <a:pt x="40" y="79"/>
                  </a:lnTo>
                  <a:lnTo>
                    <a:pt x="31" y="96"/>
                  </a:lnTo>
                  <a:lnTo>
                    <a:pt x="22" y="115"/>
                  </a:lnTo>
                  <a:lnTo>
                    <a:pt x="15" y="135"/>
                  </a:lnTo>
                  <a:lnTo>
                    <a:pt x="11" y="156"/>
                  </a:lnTo>
                  <a:lnTo>
                    <a:pt x="7" y="178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5" y="214"/>
                  </a:lnTo>
                  <a:lnTo>
                    <a:pt x="2" y="218"/>
                  </a:lnTo>
                  <a:lnTo>
                    <a:pt x="1" y="223"/>
                  </a:lnTo>
                  <a:lnTo>
                    <a:pt x="0" y="230"/>
                  </a:lnTo>
                  <a:lnTo>
                    <a:pt x="0" y="245"/>
                  </a:lnTo>
                  <a:lnTo>
                    <a:pt x="2" y="264"/>
                  </a:lnTo>
                  <a:lnTo>
                    <a:pt x="6" y="282"/>
                  </a:lnTo>
                  <a:lnTo>
                    <a:pt x="11" y="299"/>
                  </a:lnTo>
                  <a:lnTo>
                    <a:pt x="15" y="306"/>
                  </a:lnTo>
                  <a:lnTo>
                    <a:pt x="19" y="311"/>
                  </a:lnTo>
                  <a:lnTo>
                    <a:pt x="23" y="315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34" y="334"/>
                  </a:lnTo>
                  <a:lnTo>
                    <a:pt x="40" y="350"/>
                  </a:lnTo>
                  <a:lnTo>
                    <a:pt x="48" y="367"/>
                  </a:lnTo>
                  <a:lnTo>
                    <a:pt x="56" y="381"/>
                  </a:lnTo>
                  <a:lnTo>
                    <a:pt x="64" y="396"/>
                  </a:lnTo>
                  <a:lnTo>
                    <a:pt x="73" y="410"/>
                  </a:lnTo>
                  <a:lnTo>
                    <a:pt x="84" y="424"/>
                  </a:lnTo>
                  <a:lnTo>
                    <a:pt x="93" y="435"/>
                  </a:lnTo>
                  <a:lnTo>
                    <a:pt x="104" y="446"/>
                  </a:lnTo>
                  <a:lnTo>
                    <a:pt x="116" y="455"/>
                  </a:lnTo>
                  <a:lnTo>
                    <a:pt x="126" y="464"/>
                  </a:lnTo>
                  <a:lnTo>
                    <a:pt x="138" y="471"/>
                  </a:lnTo>
                  <a:lnTo>
                    <a:pt x="149" y="476"/>
                  </a:lnTo>
                  <a:lnTo>
                    <a:pt x="160" y="480"/>
                  </a:lnTo>
                  <a:lnTo>
                    <a:pt x="172" y="483"/>
                  </a:lnTo>
                  <a:lnTo>
                    <a:pt x="184" y="484"/>
                  </a:lnTo>
                  <a:lnTo>
                    <a:pt x="184" y="484"/>
                  </a:lnTo>
                  <a:lnTo>
                    <a:pt x="196" y="483"/>
                  </a:lnTo>
                  <a:lnTo>
                    <a:pt x="207" y="480"/>
                  </a:lnTo>
                  <a:lnTo>
                    <a:pt x="218" y="476"/>
                  </a:lnTo>
                  <a:lnTo>
                    <a:pt x="230" y="471"/>
                  </a:lnTo>
                  <a:lnTo>
                    <a:pt x="241" y="464"/>
                  </a:lnTo>
                  <a:lnTo>
                    <a:pt x="253" y="455"/>
                  </a:lnTo>
                  <a:lnTo>
                    <a:pt x="263" y="446"/>
                  </a:lnTo>
                  <a:lnTo>
                    <a:pt x="274" y="435"/>
                  </a:lnTo>
                  <a:lnTo>
                    <a:pt x="283" y="424"/>
                  </a:lnTo>
                  <a:lnTo>
                    <a:pt x="294" y="410"/>
                  </a:lnTo>
                  <a:lnTo>
                    <a:pt x="303" y="397"/>
                  </a:lnTo>
                  <a:lnTo>
                    <a:pt x="311" y="383"/>
                  </a:lnTo>
                  <a:lnTo>
                    <a:pt x="320" y="367"/>
                  </a:lnTo>
                  <a:lnTo>
                    <a:pt x="327" y="351"/>
                  </a:lnTo>
                  <a:lnTo>
                    <a:pt x="334" y="334"/>
                  </a:lnTo>
                  <a:lnTo>
                    <a:pt x="340" y="317"/>
                  </a:lnTo>
                  <a:lnTo>
                    <a:pt x="340" y="317"/>
                  </a:lnTo>
                  <a:lnTo>
                    <a:pt x="341" y="318"/>
                  </a:lnTo>
                  <a:lnTo>
                    <a:pt x="341" y="318"/>
                  </a:lnTo>
                  <a:lnTo>
                    <a:pt x="345" y="317"/>
                  </a:lnTo>
                  <a:lnTo>
                    <a:pt x="349" y="313"/>
                  </a:lnTo>
                  <a:lnTo>
                    <a:pt x="353" y="307"/>
                  </a:lnTo>
                  <a:lnTo>
                    <a:pt x="357" y="301"/>
                  </a:lnTo>
                  <a:lnTo>
                    <a:pt x="362" y="284"/>
                  </a:lnTo>
                  <a:lnTo>
                    <a:pt x="367" y="264"/>
                  </a:lnTo>
                  <a:lnTo>
                    <a:pt x="370" y="245"/>
                  </a:lnTo>
                  <a:lnTo>
                    <a:pt x="370" y="228"/>
                  </a:lnTo>
                  <a:lnTo>
                    <a:pt x="369" y="222"/>
                  </a:lnTo>
                  <a:lnTo>
                    <a:pt x="367" y="216"/>
                  </a:lnTo>
                  <a:lnTo>
                    <a:pt x="363" y="212"/>
                  </a:lnTo>
                  <a:lnTo>
                    <a:pt x="361" y="211"/>
                  </a:lnTo>
                  <a:lnTo>
                    <a:pt x="361" y="211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96" name="Freeform 74">
              <a:extLst>
                <a:ext uri="{FF2B5EF4-FFF2-40B4-BE49-F238E27FC236}">
                  <a16:creationId xmlns:a16="http://schemas.microsoft.com/office/drawing/2014/main" id="{822BA29E-3923-40C7-A89B-002D54751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1950" y="2997200"/>
              <a:ext cx="681037" cy="106363"/>
            </a:xfrm>
            <a:custGeom>
              <a:avLst/>
              <a:gdLst>
                <a:gd name="T0" fmla="*/ 1007 w 1285"/>
                <a:gd name="T1" fmla="*/ 0 h 201"/>
                <a:gd name="T2" fmla="*/ 642 w 1285"/>
                <a:gd name="T3" fmla="*/ 0 h 201"/>
                <a:gd name="T4" fmla="*/ 278 w 1285"/>
                <a:gd name="T5" fmla="*/ 0 h 201"/>
                <a:gd name="T6" fmla="*/ 0 w 1285"/>
                <a:gd name="T7" fmla="*/ 201 h 201"/>
                <a:gd name="T8" fmla="*/ 642 w 1285"/>
                <a:gd name="T9" fmla="*/ 201 h 201"/>
                <a:gd name="T10" fmla="*/ 1285 w 1285"/>
                <a:gd name="T11" fmla="*/ 201 h 201"/>
                <a:gd name="T12" fmla="*/ 1007 w 1285"/>
                <a:gd name="T13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5" h="201">
                  <a:moveTo>
                    <a:pt x="1007" y="0"/>
                  </a:moveTo>
                  <a:lnTo>
                    <a:pt x="642" y="0"/>
                  </a:lnTo>
                  <a:lnTo>
                    <a:pt x="278" y="0"/>
                  </a:lnTo>
                  <a:lnTo>
                    <a:pt x="0" y="201"/>
                  </a:lnTo>
                  <a:lnTo>
                    <a:pt x="642" y="201"/>
                  </a:lnTo>
                  <a:lnTo>
                    <a:pt x="1285" y="201"/>
                  </a:lnTo>
                  <a:lnTo>
                    <a:pt x="1007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97" name="Freeform 75">
              <a:extLst>
                <a:ext uri="{FF2B5EF4-FFF2-40B4-BE49-F238E27FC236}">
                  <a16:creationId xmlns:a16="http://schemas.microsoft.com/office/drawing/2014/main" id="{DC85C697-3934-4CB1-8E93-002F37092C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4575" y="2630488"/>
              <a:ext cx="141287" cy="188913"/>
            </a:xfrm>
            <a:custGeom>
              <a:avLst/>
              <a:gdLst>
                <a:gd name="T0" fmla="*/ 244 w 265"/>
                <a:gd name="T1" fmla="*/ 232 h 355"/>
                <a:gd name="T2" fmla="*/ 222 w 265"/>
                <a:gd name="T3" fmla="*/ 280 h 355"/>
                <a:gd name="T4" fmla="*/ 192 w 265"/>
                <a:gd name="T5" fmla="*/ 319 h 355"/>
                <a:gd name="T6" fmla="*/ 176 w 265"/>
                <a:gd name="T7" fmla="*/ 334 h 355"/>
                <a:gd name="T8" fmla="*/ 159 w 265"/>
                <a:gd name="T9" fmla="*/ 345 h 355"/>
                <a:gd name="T10" fmla="*/ 140 w 265"/>
                <a:gd name="T11" fmla="*/ 352 h 355"/>
                <a:gd name="T12" fmla="*/ 122 w 265"/>
                <a:gd name="T13" fmla="*/ 355 h 355"/>
                <a:gd name="T14" fmla="*/ 112 w 265"/>
                <a:gd name="T15" fmla="*/ 355 h 355"/>
                <a:gd name="T16" fmla="*/ 93 w 265"/>
                <a:gd name="T17" fmla="*/ 349 h 355"/>
                <a:gd name="T18" fmla="*/ 73 w 265"/>
                <a:gd name="T19" fmla="*/ 340 h 355"/>
                <a:gd name="T20" fmla="*/ 53 w 265"/>
                <a:gd name="T21" fmla="*/ 327 h 355"/>
                <a:gd name="T22" fmla="*/ 35 w 265"/>
                <a:gd name="T23" fmla="*/ 306 h 355"/>
                <a:gd name="T24" fmla="*/ 19 w 265"/>
                <a:gd name="T25" fmla="*/ 281 h 355"/>
                <a:gd name="T26" fmla="*/ 8 w 265"/>
                <a:gd name="T27" fmla="*/ 248 h 355"/>
                <a:gd name="T28" fmla="*/ 2 w 265"/>
                <a:gd name="T29" fmla="*/ 208 h 355"/>
                <a:gd name="T30" fmla="*/ 0 w 265"/>
                <a:gd name="T31" fmla="*/ 186 h 355"/>
                <a:gd name="T32" fmla="*/ 3 w 265"/>
                <a:gd name="T33" fmla="*/ 142 h 355"/>
                <a:gd name="T34" fmla="*/ 10 w 265"/>
                <a:gd name="T35" fmla="*/ 104 h 355"/>
                <a:gd name="T36" fmla="*/ 22 w 265"/>
                <a:gd name="T37" fmla="*/ 72 h 355"/>
                <a:gd name="T38" fmla="*/ 36 w 265"/>
                <a:gd name="T39" fmla="*/ 46 h 355"/>
                <a:gd name="T40" fmla="*/ 54 w 265"/>
                <a:gd name="T41" fmla="*/ 26 h 355"/>
                <a:gd name="T42" fmla="*/ 74 w 265"/>
                <a:gd name="T43" fmla="*/ 12 h 355"/>
                <a:gd name="T44" fmla="*/ 98 w 265"/>
                <a:gd name="T45" fmla="*/ 2 h 355"/>
                <a:gd name="T46" fmla="*/ 122 w 265"/>
                <a:gd name="T47" fmla="*/ 0 h 355"/>
                <a:gd name="T48" fmla="*/ 135 w 265"/>
                <a:gd name="T49" fmla="*/ 0 h 355"/>
                <a:gd name="T50" fmla="*/ 160 w 265"/>
                <a:gd name="T51" fmla="*/ 5 h 355"/>
                <a:gd name="T52" fmla="*/ 184 w 265"/>
                <a:gd name="T53" fmla="*/ 14 h 355"/>
                <a:gd name="T54" fmla="*/ 206 w 265"/>
                <a:gd name="T55" fmla="*/ 29 h 355"/>
                <a:gd name="T56" fmla="*/ 226 w 265"/>
                <a:gd name="T57" fmla="*/ 47 h 355"/>
                <a:gd name="T58" fmla="*/ 242 w 265"/>
                <a:gd name="T59" fmla="*/ 70 h 355"/>
                <a:gd name="T60" fmla="*/ 252 w 265"/>
                <a:gd name="T61" fmla="*/ 97 h 355"/>
                <a:gd name="T62" fmla="*/ 259 w 265"/>
                <a:gd name="T63" fmla="*/ 130 h 355"/>
                <a:gd name="T64" fmla="*/ 259 w 265"/>
                <a:gd name="T65" fmla="*/ 148 h 355"/>
                <a:gd name="T66" fmla="*/ 259 w 265"/>
                <a:gd name="T67" fmla="*/ 156 h 355"/>
                <a:gd name="T68" fmla="*/ 263 w 265"/>
                <a:gd name="T69" fmla="*/ 159 h 355"/>
                <a:gd name="T70" fmla="*/ 265 w 265"/>
                <a:gd name="T71" fmla="*/ 181 h 355"/>
                <a:gd name="T72" fmla="*/ 260 w 265"/>
                <a:gd name="T73" fmla="*/ 207 h 355"/>
                <a:gd name="T74" fmla="*/ 250 w 265"/>
                <a:gd name="T75" fmla="*/ 228 h 355"/>
                <a:gd name="T76" fmla="*/ 244 w 265"/>
                <a:gd name="T77" fmla="*/ 232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5" h="355">
                  <a:moveTo>
                    <a:pt x="244" y="232"/>
                  </a:moveTo>
                  <a:lnTo>
                    <a:pt x="244" y="232"/>
                  </a:lnTo>
                  <a:lnTo>
                    <a:pt x="234" y="257"/>
                  </a:lnTo>
                  <a:lnTo>
                    <a:pt x="222" y="280"/>
                  </a:lnTo>
                  <a:lnTo>
                    <a:pt x="207" y="301"/>
                  </a:lnTo>
                  <a:lnTo>
                    <a:pt x="192" y="319"/>
                  </a:lnTo>
                  <a:lnTo>
                    <a:pt x="184" y="327"/>
                  </a:lnTo>
                  <a:lnTo>
                    <a:pt x="176" y="334"/>
                  </a:lnTo>
                  <a:lnTo>
                    <a:pt x="167" y="340"/>
                  </a:lnTo>
                  <a:lnTo>
                    <a:pt x="159" y="345"/>
                  </a:lnTo>
                  <a:lnTo>
                    <a:pt x="149" y="349"/>
                  </a:lnTo>
                  <a:lnTo>
                    <a:pt x="140" y="352"/>
                  </a:lnTo>
                  <a:lnTo>
                    <a:pt x="131" y="355"/>
                  </a:lnTo>
                  <a:lnTo>
                    <a:pt x="122" y="355"/>
                  </a:lnTo>
                  <a:lnTo>
                    <a:pt x="122" y="355"/>
                  </a:lnTo>
                  <a:lnTo>
                    <a:pt x="112" y="355"/>
                  </a:lnTo>
                  <a:lnTo>
                    <a:pt x="103" y="353"/>
                  </a:lnTo>
                  <a:lnTo>
                    <a:pt x="93" y="349"/>
                  </a:lnTo>
                  <a:lnTo>
                    <a:pt x="83" y="345"/>
                  </a:lnTo>
                  <a:lnTo>
                    <a:pt x="73" y="340"/>
                  </a:lnTo>
                  <a:lnTo>
                    <a:pt x="62" y="335"/>
                  </a:lnTo>
                  <a:lnTo>
                    <a:pt x="53" y="327"/>
                  </a:lnTo>
                  <a:lnTo>
                    <a:pt x="44" y="318"/>
                  </a:lnTo>
                  <a:lnTo>
                    <a:pt x="35" y="306"/>
                  </a:lnTo>
                  <a:lnTo>
                    <a:pt x="27" y="294"/>
                  </a:lnTo>
                  <a:lnTo>
                    <a:pt x="19" y="281"/>
                  </a:lnTo>
                  <a:lnTo>
                    <a:pt x="12" y="265"/>
                  </a:lnTo>
                  <a:lnTo>
                    <a:pt x="8" y="248"/>
                  </a:lnTo>
                  <a:lnTo>
                    <a:pt x="4" y="229"/>
                  </a:lnTo>
                  <a:lnTo>
                    <a:pt x="2" y="208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2" y="163"/>
                  </a:lnTo>
                  <a:lnTo>
                    <a:pt x="3" y="142"/>
                  </a:lnTo>
                  <a:lnTo>
                    <a:pt x="6" y="123"/>
                  </a:lnTo>
                  <a:lnTo>
                    <a:pt x="10" y="104"/>
                  </a:lnTo>
                  <a:lnTo>
                    <a:pt x="15" y="88"/>
                  </a:lnTo>
                  <a:lnTo>
                    <a:pt x="22" y="72"/>
                  </a:lnTo>
                  <a:lnTo>
                    <a:pt x="28" y="59"/>
                  </a:lnTo>
                  <a:lnTo>
                    <a:pt x="36" y="46"/>
                  </a:lnTo>
                  <a:lnTo>
                    <a:pt x="45" y="35"/>
                  </a:lnTo>
                  <a:lnTo>
                    <a:pt x="54" y="26"/>
                  </a:lnTo>
                  <a:lnTo>
                    <a:pt x="64" y="18"/>
                  </a:lnTo>
                  <a:lnTo>
                    <a:pt x="74" y="12"/>
                  </a:lnTo>
                  <a:lnTo>
                    <a:pt x="86" y="6"/>
                  </a:lnTo>
                  <a:lnTo>
                    <a:pt x="98" y="2"/>
                  </a:lnTo>
                  <a:lnTo>
                    <a:pt x="110" y="0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35" y="0"/>
                  </a:lnTo>
                  <a:lnTo>
                    <a:pt x="148" y="1"/>
                  </a:lnTo>
                  <a:lnTo>
                    <a:pt x="160" y="5"/>
                  </a:lnTo>
                  <a:lnTo>
                    <a:pt x="172" y="9"/>
                  </a:lnTo>
                  <a:lnTo>
                    <a:pt x="184" y="14"/>
                  </a:lnTo>
                  <a:lnTo>
                    <a:pt x="196" y="21"/>
                  </a:lnTo>
                  <a:lnTo>
                    <a:pt x="206" y="29"/>
                  </a:lnTo>
                  <a:lnTo>
                    <a:pt x="217" y="37"/>
                  </a:lnTo>
                  <a:lnTo>
                    <a:pt x="226" y="47"/>
                  </a:lnTo>
                  <a:lnTo>
                    <a:pt x="234" y="58"/>
                  </a:lnTo>
                  <a:lnTo>
                    <a:pt x="242" y="70"/>
                  </a:lnTo>
                  <a:lnTo>
                    <a:pt x="247" y="83"/>
                  </a:lnTo>
                  <a:lnTo>
                    <a:pt x="252" y="97"/>
                  </a:lnTo>
                  <a:lnTo>
                    <a:pt x="256" y="113"/>
                  </a:lnTo>
                  <a:lnTo>
                    <a:pt x="259" y="130"/>
                  </a:lnTo>
                  <a:lnTo>
                    <a:pt x="259" y="148"/>
                  </a:lnTo>
                  <a:lnTo>
                    <a:pt x="259" y="148"/>
                  </a:lnTo>
                  <a:lnTo>
                    <a:pt x="259" y="156"/>
                  </a:lnTo>
                  <a:lnTo>
                    <a:pt x="259" y="156"/>
                  </a:lnTo>
                  <a:lnTo>
                    <a:pt x="261" y="157"/>
                  </a:lnTo>
                  <a:lnTo>
                    <a:pt x="263" y="159"/>
                  </a:lnTo>
                  <a:lnTo>
                    <a:pt x="265" y="167"/>
                  </a:lnTo>
                  <a:lnTo>
                    <a:pt x="265" y="181"/>
                  </a:lnTo>
                  <a:lnTo>
                    <a:pt x="264" y="194"/>
                  </a:lnTo>
                  <a:lnTo>
                    <a:pt x="260" y="207"/>
                  </a:lnTo>
                  <a:lnTo>
                    <a:pt x="256" y="219"/>
                  </a:lnTo>
                  <a:lnTo>
                    <a:pt x="250" y="228"/>
                  </a:lnTo>
                  <a:lnTo>
                    <a:pt x="247" y="231"/>
                  </a:lnTo>
                  <a:lnTo>
                    <a:pt x="244" y="232"/>
                  </a:lnTo>
                  <a:lnTo>
                    <a:pt x="244" y="232"/>
                  </a:lnTo>
                  <a:close/>
                </a:path>
              </a:pathLst>
            </a:custGeom>
            <a:solidFill>
              <a:srgbClr val="878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98" name="Freeform 76">
              <a:extLst>
                <a:ext uri="{FF2B5EF4-FFF2-40B4-BE49-F238E27FC236}">
                  <a16:creationId xmlns:a16="http://schemas.microsoft.com/office/drawing/2014/main" id="{568F8F67-F4EC-4C42-BE4D-C52A45DC8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8850" y="2824163"/>
              <a:ext cx="276225" cy="233363"/>
            </a:xfrm>
            <a:custGeom>
              <a:avLst/>
              <a:gdLst>
                <a:gd name="T0" fmla="*/ 414 w 521"/>
                <a:gd name="T1" fmla="*/ 8 h 442"/>
                <a:gd name="T2" fmla="*/ 427 w 521"/>
                <a:gd name="T3" fmla="*/ 12 h 442"/>
                <a:gd name="T4" fmla="*/ 450 w 521"/>
                <a:gd name="T5" fmla="*/ 25 h 442"/>
                <a:gd name="T6" fmla="*/ 467 w 521"/>
                <a:gd name="T7" fmla="*/ 40 h 442"/>
                <a:gd name="T8" fmla="*/ 484 w 521"/>
                <a:gd name="T9" fmla="*/ 62 h 442"/>
                <a:gd name="T10" fmla="*/ 499 w 521"/>
                <a:gd name="T11" fmla="*/ 92 h 442"/>
                <a:gd name="T12" fmla="*/ 510 w 521"/>
                <a:gd name="T13" fmla="*/ 133 h 442"/>
                <a:gd name="T14" fmla="*/ 514 w 521"/>
                <a:gd name="T15" fmla="*/ 157 h 442"/>
                <a:gd name="T16" fmla="*/ 520 w 521"/>
                <a:gd name="T17" fmla="*/ 235 h 442"/>
                <a:gd name="T18" fmla="*/ 520 w 521"/>
                <a:gd name="T19" fmla="*/ 315 h 442"/>
                <a:gd name="T20" fmla="*/ 514 w 521"/>
                <a:gd name="T21" fmla="*/ 442 h 442"/>
                <a:gd name="T22" fmla="*/ 0 w 521"/>
                <a:gd name="T23" fmla="*/ 257 h 442"/>
                <a:gd name="T24" fmla="*/ 6 w 521"/>
                <a:gd name="T25" fmla="*/ 232 h 442"/>
                <a:gd name="T26" fmla="*/ 19 w 521"/>
                <a:gd name="T27" fmla="*/ 173 h 442"/>
                <a:gd name="T28" fmla="*/ 40 w 521"/>
                <a:gd name="T29" fmla="*/ 104 h 442"/>
                <a:gd name="T30" fmla="*/ 52 w 521"/>
                <a:gd name="T31" fmla="*/ 75 h 442"/>
                <a:gd name="T32" fmla="*/ 65 w 521"/>
                <a:gd name="T33" fmla="*/ 51 h 442"/>
                <a:gd name="T34" fmla="*/ 73 w 521"/>
                <a:gd name="T35" fmla="*/ 42 h 442"/>
                <a:gd name="T36" fmla="*/ 90 w 521"/>
                <a:gd name="T37" fmla="*/ 26 h 442"/>
                <a:gd name="T38" fmla="*/ 110 w 521"/>
                <a:gd name="T39" fmla="*/ 14 h 442"/>
                <a:gd name="T40" fmla="*/ 131 w 521"/>
                <a:gd name="T41" fmla="*/ 5 h 442"/>
                <a:gd name="T42" fmla="*/ 152 w 521"/>
                <a:gd name="T43" fmla="*/ 0 h 442"/>
                <a:gd name="T44" fmla="*/ 172 w 521"/>
                <a:gd name="T45" fmla="*/ 1 h 442"/>
                <a:gd name="T46" fmla="*/ 189 w 521"/>
                <a:gd name="T47" fmla="*/ 7 h 442"/>
                <a:gd name="T48" fmla="*/ 203 w 521"/>
                <a:gd name="T49" fmla="*/ 18 h 442"/>
                <a:gd name="T50" fmla="*/ 209 w 521"/>
                <a:gd name="T51" fmla="*/ 26 h 442"/>
                <a:gd name="T52" fmla="*/ 215 w 521"/>
                <a:gd name="T53" fmla="*/ 46 h 442"/>
                <a:gd name="T54" fmla="*/ 218 w 521"/>
                <a:gd name="T55" fmla="*/ 69 h 442"/>
                <a:gd name="T56" fmla="*/ 216 w 521"/>
                <a:gd name="T57" fmla="*/ 112 h 442"/>
                <a:gd name="T58" fmla="*/ 216 w 521"/>
                <a:gd name="T59" fmla="*/ 142 h 442"/>
                <a:gd name="T60" fmla="*/ 220 w 521"/>
                <a:gd name="T61" fmla="*/ 158 h 442"/>
                <a:gd name="T62" fmla="*/ 227 w 521"/>
                <a:gd name="T63" fmla="*/ 169 h 442"/>
                <a:gd name="T64" fmla="*/ 234 w 521"/>
                <a:gd name="T65" fmla="*/ 173 h 442"/>
                <a:gd name="T66" fmla="*/ 239 w 521"/>
                <a:gd name="T67" fmla="*/ 174 h 442"/>
                <a:gd name="T68" fmla="*/ 245 w 521"/>
                <a:gd name="T69" fmla="*/ 171 h 442"/>
                <a:gd name="T70" fmla="*/ 257 w 521"/>
                <a:gd name="T71" fmla="*/ 157 h 442"/>
                <a:gd name="T72" fmla="*/ 289 w 521"/>
                <a:gd name="T73" fmla="*/ 104 h 442"/>
                <a:gd name="T74" fmla="*/ 310 w 521"/>
                <a:gd name="T75" fmla="*/ 74 h 442"/>
                <a:gd name="T76" fmla="*/ 336 w 521"/>
                <a:gd name="T77" fmla="*/ 45 h 442"/>
                <a:gd name="T78" fmla="*/ 371 w 521"/>
                <a:gd name="T79" fmla="*/ 21 h 442"/>
                <a:gd name="T80" fmla="*/ 390 w 521"/>
                <a:gd name="T81" fmla="*/ 13 h 442"/>
                <a:gd name="T82" fmla="*/ 414 w 521"/>
                <a:gd name="T83" fmla="*/ 8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1" h="442">
                  <a:moveTo>
                    <a:pt x="414" y="8"/>
                  </a:moveTo>
                  <a:lnTo>
                    <a:pt x="414" y="8"/>
                  </a:lnTo>
                  <a:lnTo>
                    <a:pt x="418" y="8"/>
                  </a:lnTo>
                  <a:lnTo>
                    <a:pt x="427" y="12"/>
                  </a:lnTo>
                  <a:lnTo>
                    <a:pt x="442" y="18"/>
                  </a:lnTo>
                  <a:lnTo>
                    <a:pt x="450" y="25"/>
                  </a:lnTo>
                  <a:lnTo>
                    <a:pt x="458" y="32"/>
                  </a:lnTo>
                  <a:lnTo>
                    <a:pt x="467" y="40"/>
                  </a:lnTo>
                  <a:lnTo>
                    <a:pt x="475" y="50"/>
                  </a:lnTo>
                  <a:lnTo>
                    <a:pt x="484" y="62"/>
                  </a:lnTo>
                  <a:lnTo>
                    <a:pt x="492" y="76"/>
                  </a:lnTo>
                  <a:lnTo>
                    <a:pt x="499" y="92"/>
                  </a:lnTo>
                  <a:lnTo>
                    <a:pt x="505" y="112"/>
                  </a:lnTo>
                  <a:lnTo>
                    <a:pt x="510" y="133"/>
                  </a:lnTo>
                  <a:lnTo>
                    <a:pt x="514" y="157"/>
                  </a:lnTo>
                  <a:lnTo>
                    <a:pt x="514" y="157"/>
                  </a:lnTo>
                  <a:lnTo>
                    <a:pt x="518" y="195"/>
                  </a:lnTo>
                  <a:lnTo>
                    <a:pt x="520" y="235"/>
                  </a:lnTo>
                  <a:lnTo>
                    <a:pt x="521" y="276"/>
                  </a:lnTo>
                  <a:lnTo>
                    <a:pt x="520" y="315"/>
                  </a:lnTo>
                  <a:lnTo>
                    <a:pt x="517" y="387"/>
                  </a:lnTo>
                  <a:lnTo>
                    <a:pt x="514" y="442"/>
                  </a:lnTo>
                  <a:lnTo>
                    <a:pt x="260" y="442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6" y="232"/>
                  </a:lnTo>
                  <a:lnTo>
                    <a:pt x="11" y="206"/>
                  </a:lnTo>
                  <a:lnTo>
                    <a:pt x="19" y="173"/>
                  </a:lnTo>
                  <a:lnTo>
                    <a:pt x="28" y="138"/>
                  </a:lnTo>
                  <a:lnTo>
                    <a:pt x="40" y="104"/>
                  </a:lnTo>
                  <a:lnTo>
                    <a:pt x="45" y="90"/>
                  </a:lnTo>
                  <a:lnTo>
                    <a:pt x="52" y="75"/>
                  </a:lnTo>
                  <a:lnTo>
                    <a:pt x="58" y="62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73" y="42"/>
                  </a:lnTo>
                  <a:lnTo>
                    <a:pt x="81" y="34"/>
                  </a:lnTo>
                  <a:lnTo>
                    <a:pt x="90" y="26"/>
                  </a:lnTo>
                  <a:lnTo>
                    <a:pt x="99" y="20"/>
                  </a:lnTo>
                  <a:lnTo>
                    <a:pt x="110" y="14"/>
                  </a:lnTo>
                  <a:lnTo>
                    <a:pt x="120" y="9"/>
                  </a:lnTo>
                  <a:lnTo>
                    <a:pt x="131" y="5"/>
                  </a:lnTo>
                  <a:lnTo>
                    <a:pt x="141" y="3"/>
                  </a:lnTo>
                  <a:lnTo>
                    <a:pt x="152" y="0"/>
                  </a:lnTo>
                  <a:lnTo>
                    <a:pt x="162" y="0"/>
                  </a:lnTo>
                  <a:lnTo>
                    <a:pt x="172" y="1"/>
                  </a:lnTo>
                  <a:lnTo>
                    <a:pt x="181" y="3"/>
                  </a:lnTo>
                  <a:lnTo>
                    <a:pt x="189" y="7"/>
                  </a:lnTo>
                  <a:lnTo>
                    <a:pt x="197" y="12"/>
                  </a:lnTo>
                  <a:lnTo>
                    <a:pt x="203" y="18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13" y="37"/>
                  </a:lnTo>
                  <a:lnTo>
                    <a:pt x="215" y="46"/>
                  </a:lnTo>
                  <a:lnTo>
                    <a:pt x="216" y="58"/>
                  </a:lnTo>
                  <a:lnTo>
                    <a:pt x="218" y="69"/>
                  </a:lnTo>
                  <a:lnTo>
                    <a:pt x="218" y="91"/>
                  </a:lnTo>
                  <a:lnTo>
                    <a:pt x="216" y="112"/>
                  </a:lnTo>
                  <a:lnTo>
                    <a:pt x="216" y="133"/>
                  </a:lnTo>
                  <a:lnTo>
                    <a:pt x="216" y="142"/>
                  </a:lnTo>
                  <a:lnTo>
                    <a:pt x="218" y="150"/>
                  </a:lnTo>
                  <a:lnTo>
                    <a:pt x="220" y="158"/>
                  </a:lnTo>
                  <a:lnTo>
                    <a:pt x="223" y="164"/>
                  </a:lnTo>
                  <a:lnTo>
                    <a:pt x="227" y="169"/>
                  </a:lnTo>
                  <a:lnTo>
                    <a:pt x="234" y="173"/>
                  </a:lnTo>
                  <a:lnTo>
                    <a:pt x="234" y="173"/>
                  </a:lnTo>
                  <a:lnTo>
                    <a:pt x="236" y="174"/>
                  </a:lnTo>
                  <a:lnTo>
                    <a:pt x="239" y="174"/>
                  </a:lnTo>
                  <a:lnTo>
                    <a:pt x="243" y="173"/>
                  </a:lnTo>
                  <a:lnTo>
                    <a:pt x="245" y="171"/>
                  </a:lnTo>
                  <a:lnTo>
                    <a:pt x="252" y="165"/>
                  </a:lnTo>
                  <a:lnTo>
                    <a:pt x="257" y="157"/>
                  </a:lnTo>
                  <a:lnTo>
                    <a:pt x="272" y="133"/>
                  </a:lnTo>
                  <a:lnTo>
                    <a:pt x="289" y="104"/>
                  </a:lnTo>
                  <a:lnTo>
                    <a:pt x="298" y="88"/>
                  </a:lnTo>
                  <a:lnTo>
                    <a:pt x="310" y="74"/>
                  </a:lnTo>
                  <a:lnTo>
                    <a:pt x="322" y="59"/>
                  </a:lnTo>
                  <a:lnTo>
                    <a:pt x="336" y="45"/>
                  </a:lnTo>
                  <a:lnTo>
                    <a:pt x="352" y="32"/>
                  </a:lnTo>
                  <a:lnTo>
                    <a:pt x="371" y="21"/>
                  </a:lnTo>
                  <a:lnTo>
                    <a:pt x="381" y="17"/>
                  </a:lnTo>
                  <a:lnTo>
                    <a:pt x="390" y="13"/>
                  </a:lnTo>
                  <a:lnTo>
                    <a:pt x="402" y="9"/>
                  </a:lnTo>
                  <a:lnTo>
                    <a:pt x="414" y="8"/>
                  </a:lnTo>
                  <a:close/>
                </a:path>
              </a:pathLst>
            </a:custGeom>
            <a:solidFill>
              <a:srgbClr val="878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99" name="Freeform 77">
              <a:extLst>
                <a:ext uri="{FF2B5EF4-FFF2-40B4-BE49-F238E27FC236}">
                  <a16:creationId xmlns:a16="http://schemas.microsoft.com/office/drawing/2014/main" id="{F592E7B9-3D0A-4260-9957-BD6311169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8850" y="2824163"/>
              <a:ext cx="276225" cy="233363"/>
            </a:xfrm>
            <a:custGeom>
              <a:avLst/>
              <a:gdLst>
                <a:gd name="T0" fmla="*/ 414 w 521"/>
                <a:gd name="T1" fmla="*/ 8 h 442"/>
                <a:gd name="T2" fmla="*/ 427 w 521"/>
                <a:gd name="T3" fmla="*/ 12 h 442"/>
                <a:gd name="T4" fmla="*/ 450 w 521"/>
                <a:gd name="T5" fmla="*/ 25 h 442"/>
                <a:gd name="T6" fmla="*/ 467 w 521"/>
                <a:gd name="T7" fmla="*/ 40 h 442"/>
                <a:gd name="T8" fmla="*/ 484 w 521"/>
                <a:gd name="T9" fmla="*/ 62 h 442"/>
                <a:gd name="T10" fmla="*/ 499 w 521"/>
                <a:gd name="T11" fmla="*/ 92 h 442"/>
                <a:gd name="T12" fmla="*/ 510 w 521"/>
                <a:gd name="T13" fmla="*/ 133 h 442"/>
                <a:gd name="T14" fmla="*/ 514 w 521"/>
                <a:gd name="T15" fmla="*/ 157 h 442"/>
                <a:gd name="T16" fmla="*/ 520 w 521"/>
                <a:gd name="T17" fmla="*/ 235 h 442"/>
                <a:gd name="T18" fmla="*/ 520 w 521"/>
                <a:gd name="T19" fmla="*/ 315 h 442"/>
                <a:gd name="T20" fmla="*/ 514 w 521"/>
                <a:gd name="T21" fmla="*/ 442 h 442"/>
                <a:gd name="T22" fmla="*/ 0 w 521"/>
                <a:gd name="T23" fmla="*/ 257 h 442"/>
                <a:gd name="T24" fmla="*/ 6 w 521"/>
                <a:gd name="T25" fmla="*/ 232 h 442"/>
                <a:gd name="T26" fmla="*/ 19 w 521"/>
                <a:gd name="T27" fmla="*/ 173 h 442"/>
                <a:gd name="T28" fmla="*/ 40 w 521"/>
                <a:gd name="T29" fmla="*/ 104 h 442"/>
                <a:gd name="T30" fmla="*/ 52 w 521"/>
                <a:gd name="T31" fmla="*/ 75 h 442"/>
                <a:gd name="T32" fmla="*/ 65 w 521"/>
                <a:gd name="T33" fmla="*/ 51 h 442"/>
                <a:gd name="T34" fmla="*/ 73 w 521"/>
                <a:gd name="T35" fmla="*/ 42 h 442"/>
                <a:gd name="T36" fmla="*/ 90 w 521"/>
                <a:gd name="T37" fmla="*/ 26 h 442"/>
                <a:gd name="T38" fmla="*/ 110 w 521"/>
                <a:gd name="T39" fmla="*/ 14 h 442"/>
                <a:gd name="T40" fmla="*/ 131 w 521"/>
                <a:gd name="T41" fmla="*/ 5 h 442"/>
                <a:gd name="T42" fmla="*/ 152 w 521"/>
                <a:gd name="T43" fmla="*/ 0 h 442"/>
                <a:gd name="T44" fmla="*/ 172 w 521"/>
                <a:gd name="T45" fmla="*/ 1 h 442"/>
                <a:gd name="T46" fmla="*/ 189 w 521"/>
                <a:gd name="T47" fmla="*/ 7 h 442"/>
                <a:gd name="T48" fmla="*/ 203 w 521"/>
                <a:gd name="T49" fmla="*/ 18 h 442"/>
                <a:gd name="T50" fmla="*/ 209 w 521"/>
                <a:gd name="T51" fmla="*/ 26 h 442"/>
                <a:gd name="T52" fmla="*/ 215 w 521"/>
                <a:gd name="T53" fmla="*/ 46 h 442"/>
                <a:gd name="T54" fmla="*/ 218 w 521"/>
                <a:gd name="T55" fmla="*/ 69 h 442"/>
                <a:gd name="T56" fmla="*/ 216 w 521"/>
                <a:gd name="T57" fmla="*/ 112 h 442"/>
                <a:gd name="T58" fmla="*/ 216 w 521"/>
                <a:gd name="T59" fmla="*/ 142 h 442"/>
                <a:gd name="T60" fmla="*/ 220 w 521"/>
                <a:gd name="T61" fmla="*/ 158 h 442"/>
                <a:gd name="T62" fmla="*/ 227 w 521"/>
                <a:gd name="T63" fmla="*/ 169 h 442"/>
                <a:gd name="T64" fmla="*/ 234 w 521"/>
                <a:gd name="T65" fmla="*/ 173 h 442"/>
                <a:gd name="T66" fmla="*/ 239 w 521"/>
                <a:gd name="T67" fmla="*/ 174 h 442"/>
                <a:gd name="T68" fmla="*/ 245 w 521"/>
                <a:gd name="T69" fmla="*/ 171 h 442"/>
                <a:gd name="T70" fmla="*/ 257 w 521"/>
                <a:gd name="T71" fmla="*/ 157 h 442"/>
                <a:gd name="T72" fmla="*/ 289 w 521"/>
                <a:gd name="T73" fmla="*/ 104 h 442"/>
                <a:gd name="T74" fmla="*/ 310 w 521"/>
                <a:gd name="T75" fmla="*/ 74 h 442"/>
                <a:gd name="T76" fmla="*/ 336 w 521"/>
                <a:gd name="T77" fmla="*/ 45 h 442"/>
                <a:gd name="T78" fmla="*/ 371 w 521"/>
                <a:gd name="T79" fmla="*/ 21 h 442"/>
                <a:gd name="T80" fmla="*/ 390 w 521"/>
                <a:gd name="T81" fmla="*/ 13 h 442"/>
                <a:gd name="T82" fmla="*/ 414 w 521"/>
                <a:gd name="T83" fmla="*/ 8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1" h="442">
                  <a:moveTo>
                    <a:pt x="414" y="8"/>
                  </a:moveTo>
                  <a:lnTo>
                    <a:pt x="414" y="8"/>
                  </a:lnTo>
                  <a:lnTo>
                    <a:pt x="418" y="8"/>
                  </a:lnTo>
                  <a:lnTo>
                    <a:pt x="427" y="12"/>
                  </a:lnTo>
                  <a:lnTo>
                    <a:pt x="442" y="18"/>
                  </a:lnTo>
                  <a:lnTo>
                    <a:pt x="450" y="25"/>
                  </a:lnTo>
                  <a:lnTo>
                    <a:pt x="458" y="32"/>
                  </a:lnTo>
                  <a:lnTo>
                    <a:pt x="467" y="40"/>
                  </a:lnTo>
                  <a:lnTo>
                    <a:pt x="475" y="50"/>
                  </a:lnTo>
                  <a:lnTo>
                    <a:pt x="484" y="62"/>
                  </a:lnTo>
                  <a:lnTo>
                    <a:pt x="492" y="76"/>
                  </a:lnTo>
                  <a:lnTo>
                    <a:pt x="499" y="92"/>
                  </a:lnTo>
                  <a:lnTo>
                    <a:pt x="505" y="112"/>
                  </a:lnTo>
                  <a:lnTo>
                    <a:pt x="510" y="133"/>
                  </a:lnTo>
                  <a:lnTo>
                    <a:pt x="514" y="157"/>
                  </a:lnTo>
                  <a:lnTo>
                    <a:pt x="514" y="157"/>
                  </a:lnTo>
                  <a:lnTo>
                    <a:pt x="518" y="195"/>
                  </a:lnTo>
                  <a:lnTo>
                    <a:pt x="520" y="235"/>
                  </a:lnTo>
                  <a:lnTo>
                    <a:pt x="521" y="276"/>
                  </a:lnTo>
                  <a:lnTo>
                    <a:pt x="520" y="315"/>
                  </a:lnTo>
                  <a:lnTo>
                    <a:pt x="517" y="387"/>
                  </a:lnTo>
                  <a:lnTo>
                    <a:pt x="514" y="442"/>
                  </a:lnTo>
                  <a:lnTo>
                    <a:pt x="260" y="442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6" y="232"/>
                  </a:lnTo>
                  <a:lnTo>
                    <a:pt x="11" y="206"/>
                  </a:lnTo>
                  <a:lnTo>
                    <a:pt x="19" y="173"/>
                  </a:lnTo>
                  <a:lnTo>
                    <a:pt x="28" y="138"/>
                  </a:lnTo>
                  <a:lnTo>
                    <a:pt x="40" y="104"/>
                  </a:lnTo>
                  <a:lnTo>
                    <a:pt x="45" y="90"/>
                  </a:lnTo>
                  <a:lnTo>
                    <a:pt x="52" y="75"/>
                  </a:lnTo>
                  <a:lnTo>
                    <a:pt x="58" y="62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73" y="42"/>
                  </a:lnTo>
                  <a:lnTo>
                    <a:pt x="81" y="34"/>
                  </a:lnTo>
                  <a:lnTo>
                    <a:pt x="90" y="26"/>
                  </a:lnTo>
                  <a:lnTo>
                    <a:pt x="99" y="20"/>
                  </a:lnTo>
                  <a:lnTo>
                    <a:pt x="110" y="14"/>
                  </a:lnTo>
                  <a:lnTo>
                    <a:pt x="120" y="9"/>
                  </a:lnTo>
                  <a:lnTo>
                    <a:pt x="131" y="5"/>
                  </a:lnTo>
                  <a:lnTo>
                    <a:pt x="141" y="3"/>
                  </a:lnTo>
                  <a:lnTo>
                    <a:pt x="152" y="0"/>
                  </a:lnTo>
                  <a:lnTo>
                    <a:pt x="162" y="0"/>
                  </a:lnTo>
                  <a:lnTo>
                    <a:pt x="172" y="1"/>
                  </a:lnTo>
                  <a:lnTo>
                    <a:pt x="181" y="3"/>
                  </a:lnTo>
                  <a:lnTo>
                    <a:pt x="189" y="7"/>
                  </a:lnTo>
                  <a:lnTo>
                    <a:pt x="197" y="12"/>
                  </a:lnTo>
                  <a:lnTo>
                    <a:pt x="203" y="18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13" y="37"/>
                  </a:lnTo>
                  <a:lnTo>
                    <a:pt x="215" y="46"/>
                  </a:lnTo>
                  <a:lnTo>
                    <a:pt x="216" y="58"/>
                  </a:lnTo>
                  <a:lnTo>
                    <a:pt x="218" y="69"/>
                  </a:lnTo>
                  <a:lnTo>
                    <a:pt x="218" y="91"/>
                  </a:lnTo>
                  <a:lnTo>
                    <a:pt x="216" y="112"/>
                  </a:lnTo>
                  <a:lnTo>
                    <a:pt x="216" y="133"/>
                  </a:lnTo>
                  <a:lnTo>
                    <a:pt x="216" y="142"/>
                  </a:lnTo>
                  <a:lnTo>
                    <a:pt x="218" y="150"/>
                  </a:lnTo>
                  <a:lnTo>
                    <a:pt x="220" y="158"/>
                  </a:lnTo>
                  <a:lnTo>
                    <a:pt x="223" y="164"/>
                  </a:lnTo>
                  <a:lnTo>
                    <a:pt x="227" y="169"/>
                  </a:lnTo>
                  <a:lnTo>
                    <a:pt x="234" y="173"/>
                  </a:lnTo>
                  <a:lnTo>
                    <a:pt x="234" y="173"/>
                  </a:lnTo>
                  <a:lnTo>
                    <a:pt x="236" y="174"/>
                  </a:lnTo>
                  <a:lnTo>
                    <a:pt x="239" y="174"/>
                  </a:lnTo>
                  <a:lnTo>
                    <a:pt x="243" y="173"/>
                  </a:lnTo>
                  <a:lnTo>
                    <a:pt x="245" y="171"/>
                  </a:lnTo>
                  <a:lnTo>
                    <a:pt x="252" y="165"/>
                  </a:lnTo>
                  <a:lnTo>
                    <a:pt x="257" y="157"/>
                  </a:lnTo>
                  <a:lnTo>
                    <a:pt x="272" y="133"/>
                  </a:lnTo>
                  <a:lnTo>
                    <a:pt x="289" y="104"/>
                  </a:lnTo>
                  <a:lnTo>
                    <a:pt x="298" y="88"/>
                  </a:lnTo>
                  <a:lnTo>
                    <a:pt x="310" y="74"/>
                  </a:lnTo>
                  <a:lnTo>
                    <a:pt x="322" y="59"/>
                  </a:lnTo>
                  <a:lnTo>
                    <a:pt x="336" y="45"/>
                  </a:lnTo>
                  <a:lnTo>
                    <a:pt x="352" y="32"/>
                  </a:lnTo>
                  <a:lnTo>
                    <a:pt x="371" y="21"/>
                  </a:lnTo>
                  <a:lnTo>
                    <a:pt x="381" y="17"/>
                  </a:lnTo>
                  <a:lnTo>
                    <a:pt x="390" y="13"/>
                  </a:lnTo>
                  <a:lnTo>
                    <a:pt x="402" y="9"/>
                  </a:lnTo>
                  <a:lnTo>
                    <a:pt x="414" y="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100" name="Freeform 78">
              <a:extLst>
                <a:ext uri="{FF2B5EF4-FFF2-40B4-BE49-F238E27FC236}">
                  <a16:creationId xmlns:a16="http://schemas.microsoft.com/office/drawing/2014/main" id="{D4DF4FC4-7BE3-49D9-BCC0-2707AE835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1088" y="2852738"/>
              <a:ext cx="31750" cy="23813"/>
            </a:xfrm>
            <a:custGeom>
              <a:avLst/>
              <a:gdLst>
                <a:gd name="T0" fmla="*/ 57 w 58"/>
                <a:gd name="T1" fmla="*/ 33 h 45"/>
                <a:gd name="T2" fmla="*/ 57 w 58"/>
                <a:gd name="T3" fmla="*/ 33 h 45"/>
                <a:gd name="T4" fmla="*/ 54 w 58"/>
                <a:gd name="T5" fmla="*/ 40 h 45"/>
                <a:gd name="T6" fmla="*/ 47 w 58"/>
                <a:gd name="T7" fmla="*/ 44 h 45"/>
                <a:gd name="T8" fmla="*/ 41 w 58"/>
                <a:gd name="T9" fmla="*/ 45 h 45"/>
                <a:gd name="T10" fmla="*/ 34 w 58"/>
                <a:gd name="T11" fmla="*/ 44 h 45"/>
                <a:gd name="T12" fmla="*/ 12 w 58"/>
                <a:gd name="T13" fmla="*/ 34 h 45"/>
                <a:gd name="T14" fmla="*/ 12 w 58"/>
                <a:gd name="T15" fmla="*/ 34 h 45"/>
                <a:gd name="T16" fmla="*/ 5 w 58"/>
                <a:gd name="T17" fmla="*/ 30 h 45"/>
                <a:gd name="T18" fmla="*/ 1 w 58"/>
                <a:gd name="T19" fmla="*/ 25 h 45"/>
                <a:gd name="T20" fmla="*/ 0 w 58"/>
                <a:gd name="T21" fmla="*/ 19 h 45"/>
                <a:gd name="T22" fmla="*/ 1 w 58"/>
                <a:gd name="T23" fmla="*/ 12 h 45"/>
                <a:gd name="T24" fmla="*/ 1 w 58"/>
                <a:gd name="T25" fmla="*/ 12 h 45"/>
                <a:gd name="T26" fmla="*/ 1 w 58"/>
                <a:gd name="T27" fmla="*/ 12 h 45"/>
                <a:gd name="T28" fmla="*/ 5 w 58"/>
                <a:gd name="T29" fmla="*/ 5 h 45"/>
                <a:gd name="T30" fmla="*/ 11 w 58"/>
                <a:gd name="T31" fmla="*/ 1 h 45"/>
                <a:gd name="T32" fmla="*/ 17 w 58"/>
                <a:gd name="T33" fmla="*/ 0 h 45"/>
                <a:gd name="T34" fmla="*/ 25 w 58"/>
                <a:gd name="T35" fmla="*/ 1 h 45"/>
                <a:gd name="T36" fmla="*/ 47 w 58"/>
                <a:gd name="T37" fmla="*/ 11 h 45"/>
                <a:gd name="T38" fmla="*/ 47 w 58"/>
                <a:gd name="T39" fmla="*/ 11 h 45"/>
                <a:gd name="T40" fmla="*/ 53 w 58"/>
                <a:gd name="T41" fmla="*/ 15 h 45"/>
                <a:gd name="T42" fmla="*/ 57 w 58"/>
                <a:gd name="T43" fmla="*/ 20 h 45"/>
                <a:gd name="T44" fmla="*/ 58 w 58"/>
                <a:gd name="T45" fmla="*/ 26 h 45"/>
                <a:gd name="T46" fmla="*/ 57 w 58"/>
                <a:gd name="T47" fmla="*/ 33 h 45"/>
                <a:gd name="T48" fmla="*/ 57 w 58"/>
                <a:gd name="T49" fmla="*/ 3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8" h="45">
                  <a:moveTo>
                    <a:pt x="57" y="33"/>
                  </a:moveTo>
                  <a:lnTo>
                    <a:pt x="57" y="33"/>
                  </a:lnTo>
                  <a:lnTo>
                    <a:pt x="54" y="40"/>
                  </a:lnTo>
                  <a:lnTo>
                    <a:pt x="47" y="44"/>
                  </a:lnTo>
                  <a:lnTo>
                    <a:pt x="41" y="45"/>
                  </a:lnTo>
                  <a:lnTo>
                    <a:pt x="34" y="4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5" y="30"/>
                  </a:lnTo>
                  <a:lnTo>
                    <a:pt x="1" y="25"/>
                  </a:lnTo>
                  <a:lnTo>
                    <a:pt x="0" y="19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5" y="5"/>
                  </a:lnTo>
                  <a:lnTo>
                    <a:pt x="11" y="1"/>
                  </a:lnTo>
                  <a:lnTo>
                    <a:pt x="17" y="0"/>
                  </a:lnTo>
                  <a:lnTo>
                    <a:pt x="25" y="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53" y="15"/>
                  </a:lnTo>
                  <a:lnTo>
                    <a:pt x="57" y="20"/>
                  </a:lnTo>
                  <a:lnTo>
                    <a:pt x="58" y="26"/>
                  </a:lnTo>
                  <a:lnTo>
                    <a:pt x="57" y="33"/>
                  </a:lnTo>
                  <a:lnTo>
                    <a:pt x="57" y="33"/>
                  </a:lnTo>
                  <a:close/>
                </a:path>
              </a:pathLst>
            </a:custGeom>
            <a:solidFill>
              <a:srgbClr val="878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101" name="Freeform 79">
              <a:extLst>
                <a:ext uri="{FF2B5EF4-FFF2-40B4-BE49-F238E27FC236}">
                  <a16:creationId xmlns:a16="http://schemas.microsoft.com/office/drawing/2014/main" id="{C12214A4-DA96-4B40-A105-77771AAC8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2725" y="2636838"/>
              <a:ext cx="141287" cy="187325"/>
            </a:xfrm>
            <a:custGeom>
              <a:avLst/>
              <a:gdLst>
                <a:gd name="T0" fmla="*/ 21 w 265"/>
                <a:gd name="T1" fmla="*/ 233 h 355"/>
                <a:gd name="T2" fmla="*/ 43 w 265"/>
                <a:gd name="T3" fmla="*/ 280 h 355"/>
                <a:gd name="T4" fmla="*/ 73 w 265"/>
                <a:gd name="T5" fmla="*/ 320 h 355"/>
                <a:gd name="T6" fmla="*/ 89 w 265"/>
                <a:gd name="T7" fmla="*/ 334 h 355"/>
                <a:gd name="T8" fmla="*/ 108 w 265"/>
                <a:gd name="T9" fmla="*/ 346 h 355"/>
                <a:gd name="T10" fmla="*/ 125 w 265"/>
                <a:gd name="T11" fmla="*/ 353 h 355"/>
                <a:gd name="T12" fmla="*/ 143 w 265"/>
                <a:gd name="T13" fmla="*/ 355 h 355"/>
                <a:gd name="T14" fmla="*/ 153 w 265"/>
                <a:gd name="T15" fmla="*/ 355 h 355"/>
                <a:gd name="T16" fmla="*/ 172 w 265"/>
                <a:gd name="T17" fmla="*/ 350 h 355"/>
                <a:gd name="T18" fmla="*/ 192 w 265"/>
                <a:gd name="T19" fmla="*/ 341 h 355"/>
                <a:gd name="T20" fmla="*/ 212 w 265"/>
                <a:gd name="T21" fmla="*/ 328 h 355"/>
                <a:gd name="T22" fmla="*/ 230 w 265"/>
                <a:gd name="T23" fmla="*/ 306 h 355"/>
                <a:gd name="T24" fmla="*/ 246 w 265"/>
                <a:gd name="T25" fmla="*/ 281 h 355"/>
                <a:gd name="T26" fmla="*/ 257 w 265"/>
                <a:gd name="T27" fmla="*/ 248 h 355"/>
                <a:gd name="T28" fmla="*/ 263 w 265"/>
                <a:gd name="T29" fmla="*/ 209 h 355"/>
                <a:gd name="T30" fmla="*/ 265 w 265"/>
                <a:gd name="T31" fmla="*/ 186 h 355"/>
                <a:gd name="T32" fmla="*/ 262 w 265"/>
                <a:gd name="T33" fmla="*/ 143 h 355"/>
                <a:gd name="T34" fmla="*/ 255 w 265"/>
                <a:gd name="T35" fmla="*/ 105 h 355"/>
                <a:gd name="T36" fmla="*/ 244 w 265"/>
                <a:gd name="T37" fmla="*/ 73 h 355"/>
                <a:gd name="T38" fmla="*/ 229 w 265"/>
                <a:gd name="T39" fmla="*/ 47 h 355"/>
                <a:gd name="T40" fmla="*/ 211 w 265"/>
                <a:gd name="T41" fmla="*/ 27 h 355"/>
                <a:gd name="T42" fmla="*/ 191 w 265"/>
                <a:gd name="T43" fmla="*/ 12 h 355"/>
                <a:gd name="T44" fmla="*/ 167 w 265"/>
                <a:gd name="T45" fmla="*/ 3 h 355"/>
                <a:gd name="T46" fmla="*/ 143 w 265"/>
                <a:gd name="T47" fmla="*/ 0 h 355"/>
                <a:gd name="T48" fmla="*/ 130 w 265"/>
                <a:gd name="T49" fmla="*/ 0 h 355"/>
                <a:gd name="T50" fmla="*/ 105 w 265"/>
                <a:gd name="T51" fmla="*/ 6 h 355"/>
                <a:gd name="T52" fmla="*/ 81 w 265"/>
                <a:gd name="T53" fmla="*/ 15 h 355"/>
                <a:gd name="T54" fmla="*/ 59 w 265"/>
                <a:gd name="T55" fmla="*/ 29 h 355"/>
                <a:gd name="T56" fmla="*/ 40 w 265"/>
                <a:gd name="T57" fmla="*/ 48 h 355"/>
                <a:gd name="T58" fmla="*/ 25 w 265"/>
                <a:gd name="T59" fmla="*/ 70 h 355"/>
                <a:gd name="T60" fmla="*/ 13 w 265"/>
                <a:gd name="T61" fmla="*/ 98 h 355"/>
                <a:gd name="T62" fmla="*/ 6 w 265"/>
                <a:gd name="T63" fmla="*/ 131 h 355"/>
                <a:gd name="T64" fmla="*/ 6 w 265"/>
                <a:gd name="T65" fmla="*/ 149 h 355"/>
                <a:gd name="T66" fmla="*/ 6 w 265"/>
                <a:gd name="T67" fmla="*/ 156 h 355"/>
                <a:gd name="T68" fmla="*/ 2 w 265"/>
                <a:gd name="T69" fmla="*/ 160 h 355"/>
                <a:gd name="T70" fmla="*/ 0 w 265"/>
                <a:gd name="T71" fmla="*/ 181 h 355"/>
                <a:gd name="T72" fmla="*/ 5 w 265"/>
                <a:gd name="T73" fmla="*/ 208 h 355"/>
                <a:gd name="T74" fmla="*/ 15 w 265"/>
                <a:gd name="T75" fmla="*/ 229 h 355"/>
                <a:gd name="T76" fmla="*/ 21 w 265"/>
                <a:gd name="T77" fmla="*/ 23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5" h="355">
                  <a:moveTo>
                    <a:pt x="21" y="233"/>
                  </a:moveTo>
                  <a:lnTo>
                    <a:pt x="21" y="233"/>
                  </a:lnTo>
                  <a:lnTo>
                    <a:pt x="31" y="258"/>
                  </a:lnTo>
                  <a:lnTo>
                    <a:pt x="43" y="280"/>
                  </a:lnTo>
                  <a:lnTo>
                    <a:pt x="58" y="301"/>
                  </a:lnTo>
                  <a:lnTo>
                    <a:pt x="73" y="320"/>
                  </a:lnTo>
                  <a:lnTo>
                    <a:pt x="81" y="328"/>
                  </a:lnTo>
                  <a:lnTo>
                    <a:pt x="89" y="334"/>
                  </a:lnTo>
                  <a:lnTo>
                    <a:pt x="98" y="341"/>
                  </a:lnTo>
                  <a:lnTo>
                    <a:pt x="108" y="346"/>
                  </a:lnTo>
                  <a:lnTo>
                    <a:pt x="116" y="350"/>
                  </a:lnTo>
                  <a:lnTo>
                    <a:pt x="125" y="353"/>
                  </a:lnTo>
                  <a:lnTo>
                    <a:pt x="134" y="355"/>
                  </a:lnTo>
                  <a:lnTo>
                    <a:pt x="143" y="355"/>
                  </a:lnTo>
                  <a:lnTo>
                    <a:pt x="143" y="355"/>
                  </a:lnTo>
                  <a:lnTo>
                    <a:pt x="153" y="355"/>
                  </a:lnTo>
                  <a:lnTo>
                    <a:pt x="162" y="354"/>
                  </a:lnTo>
                  <a:lnTo>
                    <a:pt x="172" y="350"/>
                  </a:lnTo>
                  <a:lnTo>
                    <a:pt x="182" y="346"/>
                  </a:lnTo>
                  <a:lnTo>
                    <a:pt x="192" y="341"/>
                  </a:lnTo>
                  <a:lnTo>
                    <a:pt x="203" y="335"/>
                  </a:lnTo>
                  <a:lnTo>
                    <a:pt x="212" y="328"/>
                  </a:lnTo>
                  <a:lnTo>
                    <a:pt x="221" y="318"/>
                  </a:lnTo>
                  <a:lnTo>
                    <a:pt x="230" y="306"/>
                  </a:lnTo>
                  <a:lnTo>
                    <a:pt x="238" y="295"/>
                  </a:lnTo>
                  <a:lnTo>
                    <a:pt x="246" y="281"/>
                  </a:lnTo>
                  <a:lnTo>
                    <a:pt x="253" y="266"/>
                  </a:lnTo>
                  <a:lnTo>
                    <a:pt x="257" y="248"/>
                  </a:lnTo>
                  <a:lnTo>
                    <a:pt x="261" y="230"/>
                  </a:lnTo>
                  <a:lnTo>
                    <a:pt x="263" y="209"/>
                  </a:lnTo>
                  <a:lnTo>
                    <a:pt x="265" y="186"/>
                  </a:lnTo>
                  <a:lnTo>
                    <a:pt x="265" y="186"/>
                  </a:lnTo>
                  <a:lnTo>
                    <a:pt x="263" y="164"/>
                  </a:lnTo>
                  <a:lnTo>
                    <a:pt x="262" y="143"/>
                  </a:lnTo>
                  <a:lnTo>
                    <a:pt x="259" y="123"/>
                  </a:lnTo>
                  <a:lnTo>
                    <a:pt x="255" y="105"/>
                  </a:lnTo>
                  <a:lnTo>
                    <a:pt x="250" y="89"/>
                  </a:lnTo>
                  <a:lnTo>
                    <a:pt x="244" y="73"/>
                  </a:lnTo>
                  <a:lnTo>
                    <a:pt x="237" y="60"/>
                  </a:lnTo>
                  <a:lnTo>
                    <a:pt x="229" y="47"/>
                  </a:lnTo>
                  <a:lnTo>
                    <a:pt x="220" y="36"/>
                  </a:lnTo>
                  <a:lnTo>
                    <a:pt x="211" y="27"/>
                  </a:lnTo>
                  <a:lnTo>
                    <a:pt x="201" y="18"/>
                  </a:lnTo>
                  <a:lnTo>
                    <a:pt x="191" y="12"/>
                  </a:lnTo>
                  <a:lnTo>
                    <a:pt x="179" y="7"/>
                  </a:lnTo>
                  <a:lnTo>
                    <a:pt x="167" y="3"/>
                  </a:lnTo>
                  <a:lnTo>
                    <a:pt x="155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30" y="0"/>
                  </a:lnTo>
                  <a:lnTo>
                    <a:pt x="118" y="2"/>
                  </a:lnTo>
                  <a:lnTo>
                    <a:pt x="105" y="6"/>
                  </a:lnTo>
                  <a:lnTo>
                    <a:pt x="93" y="10"/>
                  </a:lnTo>
                  <a:lnTo>
                    <a:pt x="81" y="15"/>
                  </a:lnTo>
                  <a:lnTo>
                    <a:pt x="69" y="21"/>
                  </a:lnTo>
                  <a:lnTo>
                    <a:pt x="59" y="29"/>
                  </a:lnTo>
                  <a:lnTo>
                    <a:pt x="50" y="37"/>
                  </a:lnTo>
                  <a:lnTo>
                    <a:pt x="40" y="48"/>
                  </a:lnTo>
                  <a:lnTo>
                    <a:pt x="31" y="58"/>
                  </a:lnTo>
                  <a:lnTo>
                    <a:pt x="25" y="70"/>
                  </a:lnTo>
                  <a:lnTo>
                    <a:pt x="18" y="83"/>
                  </a:lnTo>
                  <a:lnTo>
                    <a:pt x="13" y="98"/>
                  </a:lnTo>
                  <a:lnTo>
                    <a:pt x="9" y="114"/>
                  </a:lnTo>
                  <a:lnTo>
                    <a:pt x="6" y="131"/>
                  </a:lnTo>
                  <a:lnTo>
                    <a:pt x="6" y="149"/>
                  </a:lnTo>
                  <a:lnTo>
                    <a:pt x="6" y="149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4" y="157"/>
                  </a:lnTo>
                  <a:lnTo>
                    <a:pt x="2" y="160"/>
                  </a:lnTo>
                  <a:lnTo>
                    <a:pt x="0" y="169"/>
                  </a:lnTo>
                  <a:lnTo>
                    <a:pt x="0" y="181"/>
                  </a:lnTo>
                  <a:lnTo>
                    <a:pt x="2" y="194"/>
                  </a:lnTo>
                  <a:lnTo>
                    <a:pt x="5" y="208"/>
                  </a:lnTo>
                  <a:lnTo>
                    <a:pt x="10" y="219"/>
                  </a:lnTo>
                  <a:lnTo>
                    <a:pt x="15" y="229"/>
                  </a:lnTo>
                  <a:lnTo>
                    <a:pt x="18" y="231"/>
                  </a:lnTo>
                  <a:lnTo>
                    <a:pt x="21" y="233"/>
                  </a:lnTo>
                  <a:lnTo>
                    <a:pt x="21" y="233"/>
                  </a:lnTo>
                  <a:close/>
                </a:path>
              </a:pathLst>
            </a:custGeom>
            <a:solidFill>
              <a:srgbClr val="878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102" name="Freeform 80">
              <a:extLst>
                <a:ext uri="{FF2B5EF4-FFF2-40B4-BE49-F238E27FC236}">
                  <a16:creationId xmlns:a16="http://schemas.microsoft.com/office/drawing/2014/main" id="{2A3789E7-30F0-4A00-9364-13071B924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513" y="2828925"/>
              <a:ext cx="276225" cy="233363"/>
            </a:xfrm>
            <a:custGeom>
              <a:avLst/>
              <a:gdLst>
                <a:gd name="T0" fmla="*/ 106 w 520"/>
                <a:gd name="T1" fmla="*/ 6 h 441"/>
                <a:gd name="T2" fmla="*/ 93 w 520"/>
                <a:gd name="T3" fmla="*/ 11 h 441"/>
                <a:gd name="T4" fmla="*/ 70 w 520"/>
                <a:gd name="T5" fmla="*/ 23 h 441"/>
                <a:gd name="T6" fmla="*/ 53 w 520"/>
                <a:gd name="T7" fmla="*/ 39 h 441"/>
                <a:gd name="T8" fmla="*/ 36 w 520"/>
                <a:gd name="T9" fmla="*/ 62 h 441"/>
                <a:gd name="T10" fmla="*/ 21 w 520"/>
                <a:gd name="T11" fmla="*/ 92 h 441"/>
                <a:gd name="T12" fmla="*/ 10 w 520"/>
                <a:gd name="T13" fmla="*/ 133 h 441"/>
                <a:gd name="T14" fmla="*/ 6 w 520"/>
                <a:gd name="T15" fmla="*/ 157 h 441"/>
                <a:gd name="T16" fmla="*/ 0 w 520"/>
                <a:gd name="T17" fmla="*/ 234 h 441"/>
                <a:gd name="T18" fmla="*/ 0 w 520"/>
                <a:gd name="T19" fmla="*/ 315 h 441"/>
                <a:gd name="T20" fmla="*/ 6 w 520"/>
                <a:gd name="T21" fmla="*/ 441 h 441"/>
                <a:gd name="T22" fmla="*/ 520 w 520"/>
                <a:gd name="T23" fmla="*/ 257 h 441"/>
                <a:gd name="T24" fmla="*/ 514 w 520"/>
                <a:gd name="T25" fmla="*/ 232 h 441"/>
                <a:gd name="T26" fmla="*/ 501 w 520"/>
                <a:gd name="T27" fmla="*/ 172 h 441"/>
                <a:gd name="T28" fmla="*/ 480 w 520"/>
                <a:gd name="T29" fmla="*/ 104 h 441"/>
                <a:gd name="T30" fmla="*/ 468 w 520"/>
                <a:gd name="T31" fmla="*/ 75 h 441"/>
                <a:gd name="T32" fmla="*/ 455 w 520"/>
                <a:gd name="T33" fmla="*/ 51 h 441"/>
                <a:gd name="T34" fmla="*/ 447 w 520"/>
                <a:gd name="T35" fmla="*/ 42 h 441"/>
                <a:gd name="T36" fmla="*/ 430 w 520"/>
                <a:gd name="T37" fmla="*/ 26 h 441"/>
                <a:gd name="T38" fmla="*/ 410 w 520"/>
                <a:gd name="T39" fmla="*/ 14 h 441"/>
                <a:gd name="T40" fmla="*/ 389 w 520"/>
                <a:gd name="T41" fmla="*/ 5 h 441"/>
                <a:gd name="T42" fmla="*/ 368 w 520"/>
                <a:gd name="T43" fmla="*/ 0 h 441"/>
                <a:gd name="T44" fmla="*/ 348 w 520"/>
                <a:gd name="T45" fmla="*/ 1 h 441"/>
                <a:gd name="T46" fmla="*/ 331 w 520"/>
                <a:gd name="T47" fmla="*/ 6 h 441"/>
                <a:gd name="T48" fmla="*/ 317 w 520"/>
                <a:gd name="T49" fmla="*/ 18 h 441"/>
                <a:gd name="T50" fmla="*/ 311 w 520"/>
                <a:gd name="T51" fmla="*/ 26 h 441"/>
                <a:gd name="T52" fmla="*/ 305 w 520"/>
                <a:gd name="T53" fmla="*/ 47 h 441"/>
                <a:gd name="T54" fmla="*/ 302 w 520"/>
                <a:gd name="T55" fmla="*/ 68 h 441"/>
                <a:gd name="T56" fmla="*/ 304 w 520"/>
                <a:gd name="T57" fmla="*/ 112 h 441"/>
                <a:gd name="T58" fmla="*/ 304 w 520"/>
                <a:gd name="T59" fmla="*/ 142 h 441"/>
                <a:gd name="T60" fmla="*/ 301 w 520"/>
                <a:gd name="T61" fmla="*/ 158 h 441"/>
                <a:gd name="T62" fmla="*/ 293 w 520"/>
                <a:gd name="T63" fmla="*/ 168 h 441"/>
                <a:gd name="T64" fmla="*/ 288 w 520"/>
                <a:gd name="T65" fmla="*/ 172 h 441"/>
                <a:gd name="T66" fmla="*/ 281 w 520"/>
                <a:gd name="T67" fmla="*/ 174 h 441"/>
                <a:gd name="T68" fmla="*/ 275 w 520"/>
                <a:gd name="T69" fmla="*/ 171 h 441"/>
                <a:gd name="T70" fmla="*/ 263 w 520"/>
                <a:gd name="T71" fmla="*/ 157 h 441"/>
                <a:gd name="T72" fmla="*/ 232 w 520"/>
                <a:gd name="T73" fmla="*/ 104 h 441"/>
                <a:gd name="T74" fmla="*/ 211 w 520"/>
                <a:gd name="T75" fmla="*/ 73 h 441"/>
                <a:gd name="T76" fmla="*/ 184 w 520"/>
                <a:gd name="T77" fmla="*/ 44 h 441"/>
                <a:gd name="T78" fmla="*/ 149 w 520"/>
                <a:gd name="T79" fmla="*/ 21 h 441"/>
                <a:gd name="T80" fmla="*/ 130 w 520"/>
                <a:gd name="T81" fmla="*/ 13 h 441"/>
                <a:gd name="T82" fmla="*/ 106 w 520"/>
                <a:gd name="T83" fmla="*/ 6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0" h="441">
                  <a:moveTo>
                    <a:pt x="106" y="6"/>
                  </a:moveTo>
                  <a:lnTo>
                    <a:pt x="106" y="6"/>
                  </a:lnTo>
                  <a:lnTo>
                    <a:pt x="103" y="7"/>
                  </a:lnTo>
                  <a:lnTo>
                    <a:pt x="93" y="11"/>
                  </a:lnTo>
                  <a:lnTo>
                    <a:pt x="79" y="18"/>
                  </a:lnTo>
                  <a:lnTo>
                    <a:pt x="70" y="23"/>
                  </a:lnTo>
                  <a:lnTo>
                    <a:pt x="62" y="31"/>
                  </a:lnTo>
                  <a:lnTo>
                    <a:pt x="53" y="39"/>
                  </a:lnTo>
                  <a:lnTo>
                    <a:pt x="45" y="50"/>
                  </a:lnTo>
                  <a:lnTo>
                    <a:pt x="36" y="62"/>
                  </a:lnTo>
                  <a:lnTo>
                    <a:pt x="28" y="76"/>
                  </a:lnTo>
                  <a:lnTo>
                    <a:pt x="21" y="92"/>
                  </a:lnTo>
                  <a:lnTo>
                    <a:pt x="15" y="112"/>
                  </a:lnTo>
                  <a:lnTo>
                    <a:pt x="10" y="133"/>
                  </a:lnTo>
                  <a:lnTo>
                    <a:pt x="6" y="157"/>
                  </a:lnTo>
                  <a:lnTo>
                    <a:pt x="6" y="157"/>
                  </a:lnTo>
                  <a:lnTo>
                    <a:pt x="2" y="195"/>
                  </a:lnTo>
                  <a:lnTo>
                    <a:pt x="0" y="234"/>
                  </a:lnTo>
                  <a:lnTo>
                    <a:pt x="0" y="275"/>
                  </a:lnTo>
                  <a:lnTo>
                    <a:pt x="0" y="315"/>
                  </a:lnTo>
                  <a:lnTo>
                    <a:pt x="3" y="386"/>
                  </a:lnTo>
                  <a:lnTo>
                    <a:pt x="6" y="441"/>
                  </a:lnTo>
                  <a:lnTo>
                    <a:pt x="260" y="441"/>
                  </a:lnTo>
                  <a:lnTo>
                    <a:pt x="520" y="257"/>
                  </a:lnTo>
                  <a:lnTo>
                    <a:pt x="520" y="257"/>
                  </a:lnTo>
                  <a:lnTo>
                    <a:pt x="514" y="232"/>
                  </a:lnTo>
                  <a:lnTo>
                    <a:pt x="509" y="205"/>
                  </a:lnTo>
                  <a:lnTo>
                    <a:pt x="501" y="172"/>
                  </a:lnTo>
                  <a:lnTo>
                    <a:pt x="492" y="138"/>
                  </a:lnTo>
                  <a:lnTo>
                    <a:pt x="480" y="104"/>
                  </a:lnTo>
                  <a:lnTo>
                    <a:pt x="475" y="88"/>
                  </a:lnTo>
                  <a:lnTo>
                    <a:pt x="468" y="75"/>
                  </a:lnTo>
                  <a:lnTo>
                    <a:pt x="462" y="62"/>
                  </a:lnTo>
                  <a:lnTo>
                    <a:pt x="455" y="51"/>
                  </a:lnTo>
                  <a:lnTo>
                    <a:pt x="455" y="51"/>
                  </a:lnTo>
                  <a:lnTo>
                    <a:pt x="447" y="42"/>
                  </a:lnTo>
                  <a:lnTo>
                    <a:pt x="439" y="34"/>
                  </a:lnTo>
                  <a:lnTo>
                    <a:pt x="430" y="26"/>
                  </a:lnTo>
                  <a:lnTo>
                    <a:pt x="421" y="19"/>
                  </a:lnTo>
                  <a:lnTo>
                    <a:pt x="410" y="14"/>
                  </a:lnTo>
                  <a:lnTo>
                    <a:pt x="400" y="9"/>
                  </a:lnTo>
                  <a:lnTo>
                    <a:pt x="389" y="5"/>
                  </a:lnTo>
                  <a:lnTo>
                    <a:pt x="379" y="2"/>
                  </a:lnTo>
                  <a:lnTo>
                    <a:pt x="368" y="0"/>
                  </a:lnTo>
                  <a:lnTo>
                    <a:pt x="359" y="0"/>
                  </a:lnTo>
                  <a:lnTo>
                    <a:pt x="348" y="1"/>
                  </a:lnTo>
                  <a:lnTo>
                    <a:pt x="339" y="2"/>
                  </a:lnTo>
                  <a:lnTo>
                    <a:pt x="331" y="6"/>
                  </a:lnTo>
                  <a:lnTo>
                    <a:pt x="323" y="11"/>
                  </a:lnTo>
                  <a:lnTo>
                    <a:pt x="317" y="18"/>
                  </a:lnTo>
                  <a:lnTo>
                    <a:pt x="311" y="26"/>
                  </a:lnTo>
                  <a:lnTo>
                    <a:pt x="311" y="26"/>
                  </a:lnTo>
                  <a:lnTo>
                    <a:pt x="307" y="36"/>
                  </a:lnTo>
                  <a:lnTo>
                    <a:pt x="305" y="47"/>
                  </a:lnTo>
                  <a:lnTo>
                    <a:pt x="304" y="58"/>
                  </a:lnTo>
                  <a:lnTo>
                    <a:pt x="302" y="68"/>
                  </a:lnTo>
                  <a:lnTo>
                    <a:pt x="302" y="91"/>
                  </a:lnTo>
                  <a:lnTo>
                    <a:pt x="304" y="112"/>
                  </a:lnTo>
                  <a:lnTo>
                    <a:pt x="304" y="133"/>
                  </a:lnTo>
                  <a:lnTo>
                    <a:pt x="304" y="142"/>
                  </a:lnTo>
                  <a:lnTo>
                    <a:pt x="302" y="150"/>
                  </a:lnTo>
                  <a:lnTo>
                    <a:pt x="301" y="158"/>
                  </a:lnTo>
                  <a:lnTo>
                    <a:pt x="297" y="163"/>
                  </a:lnTo>
                  <a:lnTo>
                    <a:pt x="293" y="168"/>
                  </a:lnTo>
                  <a:lnTo>
                    <a:pt x="288" y="172"/>
                  </a:lnTo>
                  <a:lnTo>
                    <a:pt x="288" y="172"/>
                  </a:lnTo>
                  <a:lnTo>
                    <a:pt x="284" y="174"/>
                  </a:lnTo>
                  <a:lnTo>
                    <a:pt x="281" y="174"/>
                  </a:lnTo>
                  <a:lnTo>
                    <a:pt x="277" y="172"/>
                  </a:lnTo>
                  <a:lnTo>
                    <a:pt x="275" y="171"/>
                  </a:lnTo>
                  <a:lnTo>
                    <a:pt x="268" y="164"/>
                  </a:lnTo>
                  <a:lnTo>
                    <a:pt x="263" y="157"/>
                  </a:lnTo>
                  <a:lnTo>
                    <a:pt x="248" y="133"/>
                  </a:lnTo>
                  <a:lnTo>
                    <a:pt x="232" y="104"/>
                  </a:lnTo>
                  <a:lnTo>
                    <a:pt x="222" y="88"/>
                  </a:lnTo>
                  <a:lnTo>
                    <a:pt x="211" y="73"/>
                  </a:lnTo>
                  <a:lnTo>
                    <a:pt x="198" y="58"/>
                  </a:lnTo>
                  <a:lnTo>
                    <a:pt x="184" y="44"/>
                  </a:lnTo>
                  <a:lnTo>
                    <a:pt x="168" y="31"/>
                  </a:lnTo>
                  <a:lnTo>
                    <a:pt x="149" y="21"/>
                  </a:lnTo>
                  <a:lnTo>
                    <a:pt x="140" y="17"/>
                  </a:lnTo>
                  <a:lnTo>
                    <a:pt x="130" y="13"/>
                  </a:lnTo>
                  <a:lnTo>
                    <a:pt x="118" y="9"/>
                  </a:lnTo>
                  <a:lnTo>
                    <a:pt x="106" y="6"/>
                  </a:lnTo>
                  <a:close/>
                </a:path>
              </a:pathLst>
            </a:custGeom>
            <a:solidFill>
              <a:srgbClr val="878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103" name="Freeform 81">
              <a:extLst>
                <a:ext uri="{FF2B5EF4-FFF2-40B4-BE49-F238E27FC236}">
                  <a16:creationId xmlns:a16="http://schemas.microsoft.com/office/drawing/2014/main" id="{B6B14EFF-F356-4378-8BA5-A00D5D227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513" y="2828925"/>
              <a:ext cx="276225" cy="233363"/>
            </a:xfrm>
            <a:custGeom>
              <a:avLst/>
              <a:gdLst>
                <a:gd name="T0" fmla="*/ 106 w 520"/>
                <a:gd name="T1" fmla="*/ 6 h 441"/>
                <a:gd name="T2" fmla="*/ 93 w 520"/>
                <a:gd name="T3" fmla="*/ 11 h 441"/>
                <a:gd name="T4" fmla="*/ 70 w 520"/>
                <a:gd name="T5" fmla="*/ 23 h 441"/>
                <a:gd name="T6" fmla="*/ 53 w 520"/>
                <a:gd name="T7" fmla="*/ 39 h 441"/>
                <a:gd name="T8" fmla="*/ 36 w 520"/>
                <a:gd name="T9" fmla="*/ 62 h 441"/>
                <a:gd name="T10" fmla="*/ 21 w 520"/>
                <a:gd name="T11" fmla="*/ 92 h 441"/>
                <a:gd name="T12" fmla="*/ 10 w 520"/>
                <a:gd name="T13" fmla="*/ 133 h 441"/>
                <a:gd name="T14" fmla="*/ 6 w 520"/>
                <a:gd name="T15" fmla="*/ 157 h 441"/>
                <a:gd name="T16" fmla="*/ 0 w 520"/>
                <a:gd name="T17" fmla="*/ 234 h 441"/>
                <a:gd name="T18" fmla="*/ 0 w 520"/>
                <a:gd name="T19" fmla="*/ 315 h 441"/>
                <a:gd name="T20" fmla="*/ 6 w 520"/>
                <a:gd name="T21" fmla="*/ 441 h 441"/>
                <a:gd name="T22" fmla="*/ 520 w 520"/>
                <a:gd name="T23" fmla="*/ 257 h 441"/>
                <a:gd name="T24" fmla="*/ 514 w 520"/>
                <a:gd name="T25" fmla="*/ 232 h 441"/>
                <a:gd name="T26" fmla="*/ 501 w 520"/>
                <a:gd name="T27" fmla="*/ 172 h 441"/>
                <a:gd name="T28" fmla="*/ 480 w 520"/>
                <a:gd name="T29" fmla="*/ 104 h 441"/>
                <a:gd name="T30" fmla="*/ 468 w 520"/>
                <a:gd name="T31" fmla="*/ 75 h 441"/>
                <a:gd name="T32" fmla="*/ 455 w 520"/>
                <a:gd name="T33" fmla="*/ 51 h 441"/>
                <a:gd name="T34" fmla="*/ 447 w 520"/>
                <a:gd name="T35" fmla="*/ 42 h 441"/>
                <a:gd name="T36" fmla="*/ 430 w 520"/>
                <a:gd name="T37" fmla="*/ 26 h 441"/>
                <a:gd name="T38" fmla="*/ 410 w 520"/>
                <a:gd name="T39" fmla="*/ 14 h 441"/>
                <a:gd name="T40" fmla="*/ 389 w 520"/>
                <a:gd name="T41" fmla="*/ 5 h 441"/>
                <a:gd name="T42" fmla="*/ 368 w 520"/>
                <a:gd name="T43" fmla="*/ 0 h 441"/>
                <a:gd name="T44" fmla="*/ 348 w 520"/>
                <a:gd name="T45" fmla="*/ 1 h 441"/>
                <a:gd name="T46" fmla="*/ 331 w 520"/>
                <a:gd name="T47" fmla="*/ 6 h 441"/>
                <a:gd name="T48" fmla="*/ 317 w 520"/>
                <a:gd name="T49" fmla="*/ 18 h 441"/>
                <a:gd name="T50" fmla="*/ 311 w 520"/>
                <a:gd name="T51" fmla="*/ 26 h 441"/>
                <a:gd name="T52" fmla="*/ 305 w 520"/>
                <a:gd name="T53" fmla="*/ 47 h 441"/>
                <a:gd name="T54" fmla="*/ 302 w 520"/>
                <a:gd name="T55" fmla="*/ 68 h 441"/>
                <a:gd name="T56" fmla="*/ 304 w 520"/>
                <a:gd name="T57" fmla="*/ 112 h 441"/>
                <a:gd name="T58" fmla="*/ 304 w 520"/>
                <a:gd name="T59" fmla="*/ 142 h 441"/>
                <a:gd name="T60" fmla="*/ 301 w 520"/>
                <a:gd name="T61" fmla="*/ 158 h 441"/>
                <a:gd name="T62" fmla="*/ 293 w 520"/>
                <a:gd name="T63" fmla="*/ 168 h 441"/>
                <a:gd name="T64" fmla="*/ 288 w 520"/>
                <a:gd name="T65" fmla="*/ 172 h 441"/>
                <a:gd name="T66" fmla="*/ 281 w 520"/>
                <a:gd name="T67" fmla="*/ 174 h 441"/>
                <a:gd name="T68" fmla="*/ 275 w 520"/>
                <a:gd name="T69" fmla="*/ 171 h 441"/>
                <a:gd name="T70" fmla="*/ 263 w 520"/>
                <a:gd name="T71" fmla="*/ 157 h 441"/>
                <a:gd name="T72" fmla="*/ 232 w 520"/>
                <a:gd name="T73" fmla="*/ 104 h 441"/>
                <a:gd name="T74" fmla="*/ 211 w 520"/>
                <a:gd name="T75" fmla="*/ 73 h 441"/>
                <a:gd name="T76" fmla="*/ 184 w 520"/>
                <a:gd name="T77" fmla="*/ 44 h 441"/>
                <a:gd name="T78" fmla="*/ 149 w 520"/>
                <a:gd name="T79" fmla="*/ 21 h 441"/>
                <a:gd name="T80" fmla="*/ 130 w 520"/>
                <a:gd name="T81" fmla="*/ 13 h 441"/>
                <a:gd name="T82" fmla="*/ 106 w 520"/>
                <a:gd name="T83" fmla="*/ 6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20" h="441">
                  <a:moveTo>
                    <a:pt x="106" y="6"/>
                  </a:moveTo>
                  <a:lnTo>
                    <a:pt x="106" y="6"/>
                  </a:lnTo>
                  <a:lnTo>
                    <a:pt x="103" y="7"/>
                  </a:lnTo>
                  <a:lnTo>
                    <a:pt x="93" y="11"/>
                  </a:lnTo>
                  <a:lnTo>
                    <a:pt x="79" y="18"/>
                  </a:lnTo>
                  <a:lnTo>
                    <a:pt x="70" y="23"/>
                  </a:lnTo>
                  <a:lnTo>
                    <a:pt x="62" y="31"/>
                  </a:lnTo>
                  <a:lnTo>
                    <a:pt x="53" y="39"/>
                  </a:lnTo>
                  <a:lnTo>
                    <a:pt x="45" y="50"/>
                  </a:lnTo>
                  <a:lnTo>
                    <a:pt x="36" y="62"/>
                  </a:lnTo>
                  <a:lnTo>
                    <a:pt x="28" y="76"/>
                  </a:lnTo>
                  <a:lnTo>
                    <a:pt x="21" y="92"/>
                  </a:lnTo>
                  <a:lnTo>
                    <a:pt x="15" y="112"/>
                  </a:lnTo>
                  <a:lnTo>
                    <a:pt x="10" y="133"/>
                  </a:lnTo>
                  <a:lnTo>
                    <a:pt x="6" y="157"/>
                  </a:lnTo>
                  <a:lnTo>
                    <a:pt x="6" y="157"/>
                  </a:lnTo>
                  <a:lnTo>
                    <a:pt x="2" y="195"/>
                  </a:lnTo>
                  <a:lnTo>
                    <a:pt x="0" y="234"/>
                  </a:lnTo>
                  <a:lnTo>
                    <a:pt x="0" y="275"/>
                  </a:lnTo>
                  <a:lnTo>
                    <a:pt x="0" y="315"/>
                  </a:lnTo>
                  <a:lnTo>
                    <a:pt x="3" y="386"/>
                  </a:lnTo>
                  <a:lnTo>
                    <a:pt x="6" y="441"/>
                  </a:lnTo>
                  <a:lnTo>
                    <a:pt x="260" y="441"/>
                  </a:lnTo>
                  <a:lnTo>
                    <a:pt x="520" y="257"/>
                  </a:lnTo>
                  <a:lnTo>
                    <a:pt x="520" y="257"/>
                  </a:lnTo>
                  <a:lnTo>
                    <a:pt x="514" y="232"/>
                  </a:lnTo>
                  <a:lnTo>
                    <a:pt x="509" y="205"/>
                  </a:lnTo>
                  <a:lnTo>
                    <a:pt x="501" y="172"/>
                  </a:lnTo>
                  <a:lnTo>
                    <a:pt x="492" y="138"/>
                  </a:lnTo>
                  <a:lnTo>
                    <a:pt x="480" y="104"/>
                  </a:lnTo>
                  <a:lnTo>
                    <a:pt x="475" y="88"/>
                  </a:lnTo>
                  <a:lnTo>
                    <a:pt x="468" y="75"/>
                  </a:lnTo>
                  <a:lnTo>
                    <a:pt x="462" y="62"/>
                  </a:lnTo>
                  <a:lnTo>
                    <a:pt x="455" y="51"/>
                  </a:lnTo>
                  <a:lnTo>
                    <a:pt x="455" y="51"/>
                  </a:lnTo>
                  <a:lnTo>
                    <a:pt x="447" y="42"/>
                  </a:lnTo>
                  <a:lnTo>
                    <a:pt x="439" y="34"/>
                  </a:lnTo>
                  <a:lnTo>
                    <a:pt x="430" y="26"/>
                  </a:lnTo>
                  <a:lnTo>
                    <a:pt x="421" y="19"/>
                  </a:lnTo>
                  <a:lnTo>
                    <a:pt x="410" y="14"/>
                  </a:lnTo>
                  <a:lnTo>
                    <a:pt x="400" y="9"/>
                  </a:lnTo>
                  <a:lnTo>
                    <a:pt x="389" y="5"/>
                  </a:lnTo>
                  <a:lnTo>
                    <a:pt x="379" y="2"/>
                  </a:lnTo>
                  <a:lnTo>
                    <a:pt x="368" y="0"/>
                  </a:lnTo>
                  <a:lnTo>
                    <a:pt x="359" y="0"/>
                  </a:lnTo>
                  <a:lnTo>
                    <a:pt x="348" y="1"/>
                  </a:lnTo>
                  <a:lnTo>
                    <a:pt x="339" y="2"/>
                  </a:lnTo>
                  <a:lnTo>
                    <a:pt x="331" y="6"/>
                  </a:lnTo>
                  <a:lnTo>
                    <a:pt x="323" y="11"/>
                  </a:lnTo>
                  <a:lnTo>
                    <a:pt x="317" y="18"/>
                  </a:lnTo>
                  <a:lnTo>
                    <a:pt x="311" y="26"/>
                  </a:lnTo>
                  <a:lnTo>
                    <a:pt x="311" y="26"/>
                  </a:lnTo>
                  <a:lnTo>
                    <a:pt x="307" y="36"/>
                  </a:lnTo>
                  <a:lnTo>
                    <a:pt x="305" y="47"/>
                  </a:lnTo>
                  <a:lnTo>
                    <a:pt x="304" y="58"/>
                  </a:lnTo>
                  <a:lnTo>
                    <a:pt x="302" y="68"/>
                  </a:lnTo>
                  <a:lnTo>
                    <a:pt x="302" y="91"/>
                  </a:lnTo>
                  <a:lnTo>
                    <a:pt x="304" y="112"/>
                  </a:lnTo>
                  <a:lnTo>
                    <a:pt x="304" y="133"/>
                  </a:lnTo>
                  <a:lnTo>
                    <a:pt x="304" y="142"/>
                  </a:lnTo>
                  <a:lnTo>
                    <a:pt x="302" y="150"/>
                  </a:lnTo>
                  <a:lnTo>
                    <a:pt x="301" y="158"/>
                  </a:lnTo>
                  <a:lnTo>
                    <a:pt x="297" y="163"/>
                  </a:lnTo>
                  <a:lnTo>
                    <a:pt x="293" y="168"/>
                  </a:lnTo>
                  <a:lnTo>
                    <a:pt x="288" y="172"/>
                  </a:lnTo>
                  <a:lnTo>
                    <a:pt x="288" y="172"/>
                  </a:lnTo>
                  <a:lnTo>
                    <a:pt x="284" y="174"/>
                  </a:lnTo>
                  <a:lnTo>
                    <a:pt x="281" y="174"/>
                  </a:lnTo>
                  <a:lnTo>
                    <a:pt x="277" y="172"/>
                  </a:lnTo>
                  <a:lnTo>
                    <a:pt x="275" y="171"/>
                  </a:lnTo>
                  <a:lnTo>
                    <a:pt x="268" y="164"/>
                  </a:lnTo>
                  <a:lnTo>
                    <a:pt x="263" y="157"/>
                  </a:lnTo>
                  <a:lnTo>
                    <a:pt x="248" y="133"/>
                  </a:lnTo>
                  <a:lnTo>
                    <a:pt x="232" y="104"/>
                  </a:lnTo>
                  <a:lnTo>
                    <a:pt x="222" y="88"/>
                  </a:lnTo>
                  <a:lnTo>
                    <a:pt x="211" y="73"/>
                  </a:lnTo>
                  <a:lnTo>
                    <a:pt x="198" y="58"/>
                  </a:lnTo>
                  <a:lnTo>
                    <a:pt x="184" y="44"/>
                  </a:lnTo>
                  <a:lnTo>
                    <a:pt x="168" y="31"/>
                  </a:lnTo>
                  <a:lnTo>
                    <a:pt x="149" y="21"/>
                  </a:lnTo>
                  <a:lnTo>
                    <a:pt x="140" y="17"/>
                  </a:lnTo>
                  <a:lnTo>
                    <a:pt x="130" y="13"/>
                  </a:lnTo>
                  <a:lnTo>
                    <a:pt x="118" y="9"/>
                  </a:lnTo>
                  <a:lnTo>
                    <a:pt x="106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104" name="Freeform 82">
              <a:extLst>
                <a:ext uri="{FF2B5EF4-FFF2-40B4-BE49-F238E27FC236}">
                  <a16:creationId xmlns:a16="http://schemas.microsoft.com/office/drawing/2014/main" id="{0137D3B6-9658-45E5-8D25-1DC67A78B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750" y="2857500"/>
              <a:ext cx="31750" cy="23813"/>
            </a:xfrm>
            <a:custGeom>
              <a:avLst/>
              <a:gdLst>
                <a:gd name="T0" fmla="*/ 1 w 58"/>
                <a:gd name="T1" fmla="*/ 33 h 44"/>
                <a:gd name="T2" fmla="*/ 1 w 58"/>
                <a:gd name="T3" fmla="*/ 33 h 44"/>
                <a:gd name="T4" fmla="*/ 5 w 58"/>
                <a:gd name="T5" fmla="*/ 39 h 44"/>
                <a:gd name="T6" fmla="*/ 11 w 58"/>
                <a:gd name="T7" fmla="*/ 43 h 44"/>
                <a:gd name="T8" fmla="*/ 17 w 58"/>
                <a:gd name="T9" fmla="*/ 44 h 44"/>
                <a:gd name="T10" fmla="*/ 24 w 58"/>
                <a:gd name="T11" fmla="*/ 43 h 44"/>
                <a:gd name="T12" fmla="*/ 46 w 58"/>
                <a:gd name="T13" fmla="*/ 34 h 44"/>
                <a:gd name="T14" fmla="*/ 46 w 58"/>
                <a:gd name="T15" fmla="*/ 34 h 44"/>
                <a:gd name="T16" fmla="*/ 53 w 58"/>
                <a:gd name="T17" fmla="*/ 30 h 44"/>
                <a:gd name="T18" fmla="*/ 57 w 58"/>
                <a:gd name="T19" fmla="*/ 25 h 44"/>
                <a:gd name="T20" fmla="*/ 58 w 58"/>
                <a:gd name="T21" fmla="*/ 18 h 44"/>
                <a:gd name="T22" fmla="*/ 57 w 58"/>
                <a:gd name="T23" fmla="*/ 11 h 44"/>
                <a:gd name="T24" fmla="*/ 57 w 58"/>
                <a:gd name="T25" fmla="*/ 11 h 44"/>
                <a:gd name="T26" fmla="*/ 57 w 58"/>
                <a:gd name="T27" fmla="*/ 11 h 44"/>
                <a:gd name="T28" fmla="*/ 53 w 58"/>
                <a:gd name="T29" fmla="*/ 5 h 44"/>
                <a:gd name="T30" fmla="*/ 47 w 58"/>
                <a:gd name="T31" fmla="*/ 2 h 44"/>
                <a:gd name="T32" fmla="*/ 41 w 58"/>
                <a:gd name="T33" fmla="*/ 0 h 44"/>
                <a:gd name="T34" fmla="*/ 34 w 58"/>
                <a:gd name="T35" fmla="*/ 1 h 44"/>
                <a:gd name="T36" fmla="*/ 11 w 58"/>
                <a:gd name="T37" fmla="*/ 10 h 44"/>
                <a:gd name="T38" fmla="*/ 11 w 58"/>
                <a:gd name="T39" fmla="*/ 10 h 44"/>
                <a:gd name="T40" fmla="*/ 5 w 58"/>
                <a:gd name="T41" fmla="*/ 14 h 44"/>
                <a:gd name="T42" fmla="*/ 1 w 58"/>
                <a:gd name="T43" fmla="*/ 19 h 44"/>
                <a:gd name="T44" fmla="*/ 0 w 58"/>
                <a:gd name="T45" fmla="*/ 26 h 44"/>
                <a:gd name="T46" fmla="*/ 1 w 58"/>
                <a:gd name="T47" fmla="*/ 33 h 44"/>
                <a:gd name="T48" fmla="*/ 1 w 58"/>
                <a:gd name="T49" fmla="*/ 3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8" h="44">
                  <a:moveTo>
                    <a:pt x="1" y="33"/>
                  </a:moveTo>
                  <a:lnTo>
                    <a:pt x="1" y="33"/>
                  </a:lnTo>
                  <a:lnTo>
                    <a:pt x="5" y="39"/>
                  </a:lnTo>
                  <a:lnTo>
                    <a:pt x="11" y="43"/>
                  </a:lnTo>
                  <a:lnTo>
                    <a:pt x="17" y="44"/>
                  </a:lnTo>
                  <a:lnTo>
                    <a:pt x="24" y="43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53" y="30"/>
                  </a:lnTo>
                  <a:lnTo>
                    <a:pt x="57" y="25"/>
                  </a:lnTo>
                  <a:lnTo>
                    <a:pt x="58" y="18"/>
                  </a:lnTo>
                  <a:lnTo>
                    <a:pt x="57" y="11"/>
                  </a:lnTo>
                  <a:lnTo>
                    <a:pt x="57" y="11"/>
                  </a:lnTo>
                  <a:lnTo>
                    <a:pt x="57" y="11"/>
                  </a:lnTo>
                  <a:lnTo>
                    <a:pt x="53" y="5"/>
                  </a:lnTo>
                  <a:lnTo>
                    <a:pt x="47" y="2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5" y="14"/>
                  </a:lnTo>
                  <a:lnTo>
                    <a:pt x="1" y="19"/>
                  </a:lnTo>
                  <a:lnTo>
                    <a:pt x="0" y="26"/>
                  </a:lnTo>
                  <a:lnTo>
                    <a:pt x="1" y="33"/>
                  </a:lnTo>
                  <a:lnTo>
                    <a:pt x="1" y="33"/>
                  </a:lnTo>
                  <a:close/>
                </a:path>
              </a:pathLst>
            </a:custGeom>
            <a:solidFill>
              <a:srgbClr val="878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</p:grpSp>
      <p:sp>
        <p:nvSpPr>
          <p:cNvPr id="5" name="Ellipse 4">
            <a:extLst>
              <a:ext uri="{FF2B5EF4-FFF2-40B4-BE49-F238E27FC236}">
                <a16:creationId xmlns:a16="http://schemas.microsoft.com/office/drawing/2014/main" id="{910ED010-BCF2-4425-A08F-4589448FD1F0}"/>
              </a:ext>
            </a:extLst>
          </p:cNvPr>
          <p:cNvSpPr/>
          <p:nvPr/>
        </p:nvSpPr>
        <p:spPr bwMode="auto">
          <a:xfrm>
            <a:off x="578781" y="2217634"/>
            <a:ext cx="62486" cy="67218"/>
          </a:xfrm>
          <a:prstGeom prst="ellipse">
            <a:avLst/>
          </a:prstGeom>
          <a:solidFill>
            <a:srgbClr val="4ABDD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+mn-cs"/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B66895E9-E224-423A-8AE9-3B6123888F1F}"/>
              </a:ext>
            </a:extLst>
          </p:cNvPr>
          <p:cNvSpPr/>
          <p:nvPr/>
        </p:nvSpPr>
        <p:spPr bwMode="auto">
          <a:xfrm>
            <a:off x="9702000" y="2218727"/>
            <a:ext cx="62486" cy="67218"/>
          </a:xfrm>
          <a:prstGeom prst="ellipse">
            <a:avLst/>
          </a:prstGeom>
          <a:solidFill>
            <a:srgbClr val="4ABDD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+mn-cs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218BD45E-892E-4D18-A08D-CF12F25F52B9}"/>
              </a:ext>
            </a:extLst>
          </p:cNvPr>
          <p:cNvCxnSpPr>
            <a:cxnSpLocks/>
          </p:cNvCxnSpPr>
          <p:nvPr/>
        </p:nvCxnSpPr>
        <p:spPr bwMode="auto">
          <a:xfrm>
            <a:off x="600146" y="2252336"/>
            <a:ext cx="911944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ABDD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6" name="Rechteck 85">
            <a:extLst>
              <a:ext uri="{FF2B5EF4-FFF2-40B4-BE49-F238E27FC236}">
                <a16:creationId xmlns:a16="http://schemas.microsoft.com/office/drawing/2014/main" id="{CFD1D5EB-277F-4E88-B4E8-EE02729C0DDA}"/>
              </a:ext>
            </a:extLst>
          </p:cNvPr>
          <p:cNvSpPr/>
          <p:nvPr/>
        </p:nvSpPr>
        <p:spPr bwMode="auto">
          <a:xfrm>
            <a:off x="7605971" y="5168413"/>
            <a:ext cx="775975" cy="3486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+mn-cs"/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E8F1C50-75BC-4537-A8FF-83FFC6BD7BD5}"/>
              </a:ext>
            </a:extLst>
          </p:cNvPr>
          <p:cNvSpPr/>
          <p:nvPr/>
        </p:nvSpPr>
        <p:spPr bwMode="auto">
          <a:xfrm>
            <a:off x="9160730" y="3576847"/>
            <a:ext cx="599810" cy="3486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+mn-cs"/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EB69A9B1-AB8B-44CE-9778-37A588C7F3C8}"/>
              </a:ext>
            </a:extLst>
          </p:cNvPr>
          <p:cNvSpPr/>
          <p:nvPr/>
        </p:nvSpPr>
        <p:spPr bwMode="auto">
          <a:xfrm>
            <a:off x="7680252" y="4990103"/>
            <a:ext cx="717976" cy="3252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+mn-cs"/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F337624E-AC1F-4B67-AF90-506E2F6FED38}"/>
              </a:ext>
            </a:extLst>
          </p:cNvPr>
          <p:cNvSpPr/>
          <p:nvPr/>
        </p:nvSpPr>
        <p:spPr bwMode="auto">
          <a:xfrm>
            <a:off x="8181691" y="3018138"/>
            <a:ext cx="795198" cy="379781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0" rIns="0" bIns="0" anchor="ctr" anchorCtr="0"/>
          <a:lstStyle/>
          <a:p>
            <a:pPr marL="88901" marR="0" lvl="0" indent="-88901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80000"/>
              <a:buFontTx/>
              <a:buNone/>
              <a:tabLst>
                <a:tab pos="361957" algn="r"/>
                <a:tab pos="1076347" algn="r"/>
                <a:tab pos="1790736" algn="r"/>
                <a:tab pos="2514650" algn="r"/>
                <a:tab pos="3229040" algn="r"/>
                <a:tab pos="3943428" algn="r"/>
                <a:tab pos="4667343" algn="r"/>
                <a:tab pos="5381732" algn="r"/>
                <a:tab pos="6096121" algn="r"/>
                <a:tab pos="6820036" algn="r"/>
                <a:tab pos="7534425" algn="r"/>
              </a:tabLst>
              <a:defRPr/>
            </a:pPr>
            <a:r>
              <a:rPr kumimoji="0" lang="cs-CZ" sz="1000" spc="0" normalizeH="0" noProof="1">
                <a:ln>
                  <a:noFill/>
                </a:ln>
                <a:solidFill>
                  <a:srgbClr val="878C96"/>
                </a:solidFill>
                <a:effectLst/>
                <a:uLnTx/>
                <a:uFillTx/>
              </a:rPr>
              <a:t>Listopad.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C6E83203-6640-4938-A17A-19D8EED12E43}"/>
              </a:ext>
            </a:extLst>
          </p:cNvPr>
          <p:cNvSpPr/>
          <p:nvPr/>
        </p:nvSpPr>
        <p:spPr bwMode="auto">
          <a:xfrm>
            <a:off x="8971300" y="3022485"/>
            <a:ext cx="795198" cy="37108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0" rIns="0" bIns="0" anchor="ctr" anchorCtr="0"/>
          <a:lstStyle/>
          <a:p>
            <a:pPr marL="88901" marR="0" lvl="0" indent="-88901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>
                  <a:lumMod val="50000"/>
                </a:srgbClr>
              </a:buClr>
              <a:buSzPct val="80000"/>
              <a:buFontTx/>
              <a:buNone/>
              <a:tabLst>
                <a:tab pos="361957" algn="r"/>
                <a:tab pos="1076347" algn="r"/>
                <a:tab pos="1790736" algn="r"/>
                <a:tab pos="2514650" algn="r"/>
                <a:tab pos="3229040" algn="r"/>
                <a:tab pos="3943428" algn="r"/>
                <a:tab pos="4667343" algn="r"/>
                <a:tab pos="5381732" algn="r"/>
                <a:tab pos="6096121" algn="r"/>
                <a:tab pos="6820036" algn="r"/>
                <a:tab pos="7534425" algn="r"/>
              </a:tabLst>
              <a:defRPr/>
            </a:pPr>
            <a:r>
              <a:rPr kumimoji="0" lang="cs-CZ" sz="1400" b="1" spc="0" normalizeH="0" noProof="1">
                <a:ln>
                  <a:noFill/>
                </a:ln>
                <a:solidFill>
                  <a:srgbClr val="878C96"/>
                </a:solidFill>
                <a:effectLst/>
                <a:uLnTx/>
                <a:uFillTx/>
              </a:rPr>
              <a:t>Prosinec</a:t>
            </a:r>
            <a:endParaRPr kumimoji="0" lang="de-DE" sz="1000" b="1" i="0" u="none" strike="noStrike" kern="1200" cap="none" spc="0" normalizeH="0" baseline="0" noProof="1">
              <a:ln>
                <a:noFill/>
              </a:ln>
              <a:solidFill>
                <a:srgbClr val="878C96"/>
              </a:solidFill>
              <a:effectLst/>
              <a:uLnTx/>
              <a:uFillTx/>
              <a:latin typeface="DB Office"/>
              <a:ea typeface="+mn-ea"/>
              <a:cs typeface="+mn-cs"/>
            </a:endParaRPr>
          </a:p>
        </p:txBody>
      </p:sp>
      <p:sp>
        <p:nvSpPr>
          <p:cNvPr id="114" name="Textfeld 113">
            <a:extLst>
              <a:ext uri="{FF2B5EF4-FFF2-40B4-BE49-F238E27FC236}">
                <a16:creationId xmlns:a16="http://schemas.microsoft.com/office/drawing/2014/main" id="{BD8402C9-5257-458D-88EF-A9B69F3BEAFC}"/>
              </a:ext>
            </a:extLst>
          </p:cNvPr>
          <p:cNvSpPr txBox="1"/>
          <p:nvPr/>
        </p:nvSpPr>
        <p:spPr>
          <a:xfrm>
            <a:off x="3155473" y="2079445"/>
            <a:ext cx="415168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85000"/>
              <a:buFontTx/>
              <a:buNone/>
              <a:tabLst/>
              <a:defRPr/>
            </a:pPr>
            <a:r>
              <a:rPr kumimoji="0" lang="cs-CZ" sz="900" b="1" spc="0" normalizeH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DB Sans"/>
                <a:sym typeface="DB Sans"/>
              </a:rPr>
              <a:t>Neustálé podávání informací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85000"/>
              <a:buFontTx/>
              <a:buNone/>
              <a:tabLst/>
              <a:defRPr/>
            </a:pPr>
            <a:r>
              <a:rPr kumimoji="0" lang="cs-CZ" sz="900" spc="0" normalizeH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DB Sans"/>
                <a:sym typeface="DB Sans"/>
              </a:rPr>
              <a:t>Online, v dialogu s občany, formou zveřejnění, v městských radách, na akcích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09168178-66DF-4A60-97C8-EC74E7A63910}"/>
              </a:ext>
            </a:extLst>
          </p:cNvPr>
          <p:cNvCxnSpPr>
            <a:cxnSpLocks/>
          </p:cNvCxnSpPr>
          <p:nvPr/>
        </p:nvCxnSpPr>
        <p:spPr bwMode="auto">
          <a:xfrm>
            <a:off x="600143" y="3618897"/>
            <a:ext cx="8768756" cy="2293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CB90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Ellipse 54">
            <a:extLst>
              <a:ext uri="{FF2B5EF4-FFF2-40B4-BE49-F238E27FC236}">
                <a16:creationId xmlns:a16="http://schemas.microsoft.com/office/drawing/2014/main" id="{971746C6-43C8-4E9A-B8BF-BD6B75EA5DDE}"/>
              </a:ext>
            </a:extLst>
          </p:cNvPr>
          <p:cNvSpPr/>
          <p:nvPr/>
        </p:nvSpPr>
        <p:spPr bwMode="auto">
          <a:xfrm>
            <a:off x="568900" y="3584105"/>
            <a:ext cx="62486" cy="67218"/>
          </a:xfrm>
          <a:prstGeom prst="ellipse">
            <a:avLst/>
          </a:prstGeom>
          <a:solidFill>
            <a:srgbClr val="8CB90F"/>
          </a:solidFill>
          <a:ln w="9525" cap="flat" cmpd="sng" algn="ctr">
            <a:solidFill>
              <a:srgbClr val="8CB90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B Office" pitchFamily="34" charset="0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7708849-A294-4C5F-BF7C-23A12D746CE1}"/>
              </a:ext>
            </a:extLst>
          </p:cNvPr>
          <p:cNvSpPr txBox="1"/>
          <p:nvPr/>
        </p:nvSpPr>
        <p:spPr>
          <a:xfrm>
            <a:off x="5292274" y="3963921"/>
            <a:ext cx="815098" cy="138499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85000"/>
              <a:buFontTx/>
              <a:buNone/>
              <a:tabLst/>
              <a:defRPr/>
            </a:pPr>
            <a:r>
              <a:rPr kumimoji="0" lang="cs-CZ" sz="900" b="1" spc="0" normalizeH="0" noProof="0">
                <a:ln>
                  <a:noFill/>
                </a:ln>
                <a:solidFill>
                  <a:srgbClr val="00AA00"/>
                </a:solidFill>
                <a:effectLst/>
                <a:uLnTx/>
                <a:uFillTx/>
              </a:rPr>
              <a:t>Výsledek: </a:t>
            </a:r>
            <a:r>
              <a:rPr kumimoji="0" lang="cs-CZ" sz="900" spc="0" normalizeH="0" noProof="0">
                <a:ln>
                  <a:noFill/>
                </a:ln>
                <a:solidFill>
                  <a:srgbClr val="00AA00"/>
                </a:solidFill>
                <a:effectLst/>
                <a:uLnTx/>
                <a:uFillTx/>
              </a:rPr>
              <a:t>Posudek Landesdirektion Sachsen o slučitelnosti projektu s cíli územního plánování</a:t>
            </a:r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019872D8-948A-4E53-9ABC-4C241653C87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764543" y="1714923"/>
            <a:ext cx="481921" cy="236308"/>
            <a:chOff x="5721350" y="5224463"/>
            <a:chExt cx="846138" cy="574676"/>
          </a:xfrm>
        </p:grpSpPr>
        <p:sp>
          <p:nvSpPr>
            <p:cNvPr id="51" name="Freeform 219">
              <a:extLst>
                <a:ext uri="{FF2B5EF4-FFF2-40B4-BE49-F238E27FC236}">
                  <a16:creationId xmlns:a16="http://schemas.microsoft.com/office/drawing/2014/main" id="{B0A8AE37-F0FD-4E3A-9861-A1F13B68E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350" y="5610226"/>
              <a:ext cx="336550" cy="188913"/>
            </a:xfrm>
            <a:custGeom>
              <a:avLst/>
              <a:gdLst>
                <a:gd name="T0" fmla="*/ 637 w 637"/>
                <a:gd name="T1" fmla="*/ 270 h 357"/>
                <a:gd name="T2" fmla="*/ 637 w 637"/>
                <a:gd name="T3" fmla="*/ 130 h 357"/>
                <a:gd name="T4" fmla="*/ 637 w 637"/>
                <a:gd name="T5" fmla="*/ 93 h 357"/>
                <a:gd name="T6" fmla="*/ 637 w 637"/>
                <a:gd name="T7" fmla="*/ 93 h 357"/>
                <a:gd name="T8" fmla="*/ 622 w 637"/>
                <a:gd name="T9" fmla="*/ 83 h 357"/>
                <a:gd name="T10" fmla="*/ 604 w 637"/>
                <a:gd name="T11" fmla="*/ 72 h 357"/>
                <a:gd name="T12" fmla="*/ 582 w 637"/>
                <a:gd name="T13" fmla="*/ 59 h 357"/>
                <a:gd name="T14" fmla="*/ 552 w 637"/>
                <a:gd name="T15" fmla="*/ 44 h 357"/>
                <a:gd name="T16" fmla="*/ 518 w 637"/>
                <a:gd name="T17" fmla="*/ 29 h 357"/>
                <a:gd name="T18" fmla="*/ 481 w 637"/>
                <a:gd name="T19" fmla="*/ 15 h 357"/>
                <a:gd name="T20" fmla="*/ 460 w 637"/>
                <a:gd name="T21" fmla="*/ 9 h 357"/>
                <a:gd name="T22" fmla="*/ 440 w 637"/>
                <a:gd name="T23" fmla="*/ 2 h 357"/>
                <a:gd name="T24" fmla="*/ 440 w 637"/>
                <a:gd name="T25" fmla="*/ 2 h 357"/>
                <a:gd name="T26" fmla="*/ 416 w 637"/>
                <a:gd name="T27" fmla="*/ 49 h 357"/>
                <a:gd name="T28" fmla="*/ 382 w 637"/>
                <a:gd name="T29" fmla="*/ 117 h 357"/>
                <a:gd name="T30" fmla="*/ 347 w 637"/>
                <a:gd name="T31" fmla="*/ 183 h 357"/>
                <a:gd name="T32" fmla="*/ 332 w 637"/>
                <a:gd name="T33" fmla="*/ 208 h 357"/>
                <a:gd name="T34" fmla="*/ 320 w 637"/>
                <a:gd name="T35" fmla="*/ 225 h 357"/>
                <a:gd name="T36" fmla="*/ 320 w 637"/>
                <a:gd name="T37" fmla="*/ 225 h 357"/>
                <a:gd name="T38" fmla="*/ 270 w 637"/>
                <a:gd name="T39" fmla="*/ 126 h 357"/>
                <a:gd name="T40" fmla="*/ 205 w 637"/>
                <a:gd name="T41" fmla="*/ 0 h 357"/>
                <a:gd name="T42" fmla="*/ 205 w 637"/>
                <a:gd name="T43" fmla="*/ 0 h 357"/>
                <a:gd name="T44" fmla="*/ 184 w 637"/>
                <a:gd name="T45" fmla="*/ 6 h 357"/>
                <a:gd name="T46" fmla="*/ 162 w 637"/>
                <a:gd name="T47" fmla="*/ 12 h 357"/>
                <a:gd name="T48" fmla="*/ 123 w 637"/>
                <a:gd name="T49" fmla="*/ 26 h 357"/>
                <a:gd name="T50" fmla="*/ 88 w 637"/>
                <a:gd name="T51" fmla="*/ 42 h 357"/>
                <a:gd name="T52" fmla="*/ 58 w 637"/>
                <a:gd name="T53" fmla="*/ 57 h 357"/>
                <a:gd name="T54" fmla="*/ 34 w 637"/>
                <a:gd name="T55" fmla="*/ 71 h 357"/>
                <a:gd name="T56" fmla="*/ 15 w 637"/>
                <a:gd name="T57" fmla="*/ 82 h 357"/>
                <a:gd name="T58" fmla="*/ 0 w 637"/>
                <a:gd name="T59" fmla="*/ 93 h 357"/>
                <a:gd name="T60" fmla="*/ 0 w 637"/>
                <a:gd name="T61" fmla="*/ 130 h 357"/>
                <a:gd name="T62" fmla="*/ 0 w 637"/>
                <a:gd name="T63" fmla="*/ 270 h 357"/>
                <a:gd name="T64" fmla="*/ 0 w 637"/>
                <a:gd name="T65" fmla="*/ 357 h 357"/>
                <a:gd name="T66" fmla="*/ 637 w 637"/>
                <a:gd name="T67" fmla="*/ 357 h 357"/>
                <a:gd name="T68" fmla="*/ 637 w 637"/>
                <a:gd name="T69" fmla="*/ 27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7" h="357">
                  <a:moveTo>
                    <a:pt x="637" y="270"/>
                  </a:moveTo>
                  <a:lnTo>
                    <a:pt x="637" y="130"/>
                  </a:lnTo>
                  <a:lnTo>
                    <a:pt x="637" y="93"/>
                  </a:lnTo>
                  <a:lnTo>
                    <a:pt x="637" y="93"/>
                  </a:lnTo>
                  <a:lnTo>
                    <a:pt x="622" y="83"/>
                  </a:lnTo>
                  <a:lnTo>
                    <a:pt x="604" y="72"/>
                  </a:lnTo>
                  <a:lnTo>
                    <a:pt x="582" y="59"/>
                  </a:lnTo>
                  <a:lnTo>
                    <a:pt x="552" y="44"/>
                  </a:lnTo>
                  <a:lnTo>
                    <a:pt x="518" y="29"/>
                  </a:lnTo>
                  <a:lnTo>
                    <a:pt x="481" y="15"/>
                  </a:lnTo>
                  <a:lnTo>
                    <a:pt x="460" y="9"/>
                  </a:lnTo>
                  <a:lnTo>
                    <a:pt x="440" y="2"/>
                  </a:lnTo>
                  <a:lnTo>
                    <a:pt x="440" y="2"/>
                  </a:lnTo>
                  <a:lnTo>
                    <a:pt x="416" y="49"/>
                  </a:lnTo>
                  <a:lnTo>
                    <a:pt x="382" y="117"/>
                  </a:lnTo>
                  <a:lnTo>
                    <a:pt x="347" y="183"/>
                  </a:lnTo>
                  <a:lnTo>
                    <a:pt x="332" y="208"/>
                  </a:lnTo>
                  <a:lnTo>
                    <a:pt x="320" y="225"/>
                  </a:lnTo>
                  <a:lnTo>
                    <a:pt x="320" y="225"/>
                  </a:lnTo>
                  <a:lnTo>
                    <a:pt x="270" y="126"/>
                  </a:lnTo>
                  <a:lnTo>
                    <a:pt x="205" y="0"/>
                  </a:lnTo>
                  <a:lnTo>
                    <a:pt x="205" y="0"/>
                  </a:lnTo>
                  <a:lnTo>
                    <a:pt x="184" y="6"/>
                  </a:lnTo>
                  <a:lnTo>
                    <a:pt x="162" y="12"/>
                  </a:lnTo>
                  <a:lnTo>
                    <a:pt x="123" y="26"/>
                  </a:lnTo>
                  <a:lnTo>
                    <a:pt x="88" y="42"/>
                  </a:lnTo>
                  <a:lnTo>
                    <a:pt x="58" y="57"/>
                  </a:lnTo>
                  <a:lnTo>
                    <a:pt x="34" y="71"/>
                  </a:lnTo>
                  <a:lnTo>
                    <a:pt x="15" y="82"/>
                  </a:lnTo>
                  <a:lnTo>
                    <a:pt x="0" y="93"/>
                  </a:lnTo>
                  <a:lnTo>
                    <a:pt x="0" y="130"/>
                  </a:lnTo>
                  <a:lnTo>
                    <a:pt x="0" y="270"/>
                  </a:lnTo>
                  <a:lnTo>
                    <a:pt x="0" y="357"/>
                  </a:lnTo>
                  <a:lnTo>
                    <a:pt x="637" y="357"/>
                  </a:lnTo>
                  <a:lnTo>
                    <a:pt x="637" y="270"/>
                  </a:lnTo>
                  <a:close/>
                </a:path>
              </a:pathLst>
            </a:custGeom>
            <a:solidFill>
              <a:srgbClr val="878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53" name="Freeform 220">
              <a:extLst>
                <a:ext uri="{FF2B5EF4-FFF2-40B4-BE49-F238E27FC236}">
                  <a16:creationId xmlns:a16="http://schemas.microsoft.com/office/drawing/2014/main" id="{5EA5C6A1-97AE-46AE-A189-E76AD0A78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3900" y="5411788"/>
              <a:ext cx="174625" cy="200025"/>
            </a:xfrm>
            <a:custGeom>
              <a:avLst/>
              <a:gdLst>
                <a:gd name="T0" fmla="*/ 41 w 332"/>
                <a:gd name="T1" fmla="*/ 248 h 378"/>
                <a:gd name="T2" fmla="*/ 64 w 332"/>
                <a:gd name="T3" fmla="*/ 298 h 378"/>
                <a:gd name="T4" fmla="*/ 77 w 332"/>
                <a:gd name="T5" fmla="*/ 320 h 378"/>
                <a:gd name="T6" fmla="*/ 101 w 332"/>
                <a:gd name="T7" fmla="*/ 346 h 378"/>
                <a:gd name="T8" fmla="*/ 117 w 332"/>
                <a:gd name="T9" fmla="*/ 360 h 378"/>
                <a:gd name="T10" fmla="*/ 125 w 332"/>
                <a:gd name="T11" fmla="*/ 366 h 378"/>
                <a:gd name="T12" fmla="*/ 144 w 332"/>
                <a:gd name="T13" fmla="*/ 374 h 378"/>
                <a:gd name="T14" fmla="*/ 163 w 332"/>
                <a:gd name="T15" fmla="*/ 378 h 378"/>
                <a:gd name="T16" fmla="*/ 170 w 332"/>
                <a:gd name="T17" fmla="*/ 378 h 378"/>
                <a:gd name="T18" fmla="*/ 190 w 332"/>
                <a:gd name="T19" fmla="*/ 371 h 378"/>
                <a:gd name="T20" fmla="*/ 217 w 332"/>
                <a:gd name="T21" fmla="*/ 355 h 378"/>
                <a:gd name="T22" fmla="*/ 230 w 332"/>
                <a:gd name="T23" fmla="*/ 344 h 378"/>
                <a:gd name="T24" fmla="*/ 252 w 332"/>
                <a:gd name="T25" fmla="*/ 315 h 378"/>
                <a:gd name="T26" fmla="*/ 262 w 332"/>
                <a:gd name="T27" fmla="*/ 298 h 378"/>
                <a:gd name="T28" fmla="*/ 285 w 332"/>
                <a:gd name="T29" fmla="*/ 248 h 378"/>
                <a:gd name="T30" fmla="*/ 285 w 332"/>
                <a:gd name="T31" fmla="*/ 248 h 378"/>
                <a:gd name="T32" fmla="*/ 293 w 332"/>
                <a:gd name="T33" fmla="*/ 246 h 378"/>
                <a:gd name="T34" fmla="*/ 308 w 332"/>
                <a:gd name="T35" fmla="*/ 240 h 378"/>
                <a:gd name="T36" fmla="*/ 322 w 332"/>
                <a:gd name="T37" fmla="*/ 230 h 378"/>
                <a:gd name="T38" fmla="*/ 331 w 332"/>
                <a:gd name="T39" fmla="*/ 215 h 378"/>
                <a:gd name="T40" fmla="*/ 332 w 332"/>
                <a:gd name="T41" fmla="*/ 206 h 378"/>
                <a:gd name="T42" fmla="*/ 329 w 332"/>
                <a:gd name="T43" fmla="*/ 191 h 378"/>
                <a:gd name="T44" fmla="*/ 323 w 332"/>
                <a:gd name="T45" fmla="*/ 177 h 378"/>
                <a:gd name="T46" fmla="*/ 313 w 332"/>
                <a:gd name="T47" fmla="*/ 168 h 378"/>
                <a:gd name="T48" fmla="*/ 300 w 332"/>
                <a:gd name="T49" fmla="*/ 166 h 378"/>
                <a:gd name="T50" fmla="*/ 300 w 332"/>
                <a:gd name="T51" fmla="*/ 166 h 378"/>
                <a:gd name="T52" fmla="*/ 300 w 332"/>
                <a:gd name="T53" fmla="*/ 158 h 378"/>
                <a:gd name="T54" fmla="*/ 300 w 332"/>
                <a:gd name="T55" fmla="*/ 139 h 378"/>
                <a:gd name="T56" fmla="*/ 294 w 332"/>
                <a:gd name="T57" fmla="*/ 105 h 378"/>
                <a:gd name="T58" fmla="*/ 283 w 332"/>
                <a:gd name="T59" fmla="*/ 76 h 378"/>
                <a:gd name="T60" fmla="*/ 266 w 332"/>
                <a:gd name="T61" fmla="*/ 51 h 378"/>
                <a:gd name="T62" fmla="*/ 247 w 332"/>
                <a:gd name="T63" fmla="*/ 32 h 378"/>
                <a:gd name="T64" fmla="*/ 225 w 332"/>
                <a:gd name="T65" fmla="*/ 17 h 378"/>
                <a:gd name="T66" fmla="*/ 201 w 332"/>
                <a:gd name="T67" fmla="*/ 6 h 378"/>
                <a:gd name="T68" fmla="*/ 175 w 332"/>
                <a:gd name="T69" fmla="*/ 1 h 378"/>
                <a:gd name="T70" fmla="*/ 163 w 332"/>
                <a:gd name="T71" fmla="*/ 0 h 378"/>
                <a:gd name="T72" fmla="*/ 137 w 332"/>
                <a:gd name="T73" fmla="*/ 3 h 378"/>
                <a:gd name="T74" fmla="*/ 113 w 332"/>
                <a:gd name="T75" fmla="*/ 10 h 378"/>
                <a:gd name="T76" fmla="*/ 89 w 332"/>
                <a:gd name="T77" fmla="*/ 23 h 378"/>
                <a:gd name="T78" fmla="*/ 69 w 332"/>
                <a:gd name="T79" fmla="*/ 41 h 378"/>
                <a:gd name="T80" fmla="*/ 52 w 332"/>
                <a:gd name="T81" fmla="*/ 63 h 378"/>
                <a:gd name="T82" fmla="*/ 38 w 332"/>
                <a:gd name="T83" fmla="*/ 90 h 378"/>
                <a:gd name="T84" fmla="*/ 29 w 332"/>
                <a:gd name="T85" fmla="*/ 121 h 378"/>
                <a:gd name="T86" fmla="*/ 25 w 332"/>
                <a:gd name="T87" fmla="*/ 158 h 378"/>
                <a:gd name="T88" fmla="*/ 26 w 332"/>
                <a:gd name="T89" fmla="*/ 166 h 378"/>
                <a:gd name="T90" fmla="*/ 20 w 332"/>
                <a:gd name="T91" fmla="*/ 168 h 378"/>
                <a:gd name="T92" fmla="*/ 11 w 332"/>
                <a:gd name="T93" fmla="*/ 174 h 378"/>
                <a:gd name="T94" fmla="*/ 4 w 332"/>
                <a:gd name="T95" fmla="*/ 186 h 378"/>
                <a:gd name="T96" fmla="*/ 0 w 332"/>
                <a:gd name="T97" fmla="*/ 198 h 378"/>
                <a:gd name="T98" fmla="*/ 0 w 332"/>
                <a:gd name="T99" fmla="*/ 206 h 378"/>
                <a:gd name="T100" fmla="*/ 4 w 332"/>
                <a:gd name="T101" fmla="*/ 221 h 378"/>
                <a:gd name="T102" fmla="*/ 14 w 332"/>
                <a:gd name="T103" fmla="*/ 234 h 378"/>
                <a:gd name="T104" fmla="*/ 28 w 332"/>
                <a:gd name="T105" fmla="*/ 243 h 378"/>
                <a:gd name="T106" fmla="*/ 41 w 332"/>
                <a:gd name="T107" fmla="*/ 24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378">
                  <a:moveTo>
                    <a:pt x="41" y="248"/>
                  </a:moveTo>
                  <a:lnTo>
                    <a:pt x="41" y="248"/>
                  </a:lnTo>
                  <a:lnTo>
                    <a:pt x="52" y="274"/>
                  </a:lnTo>
                  <a:lnTo>
                    <a:pt x="64" y="298"/>
                  </a:lnTo>
                  <a:lnTo>
                    <a:pt x="64" y="298"/>
                  </a:lnTo>
                  <a:lnTo>
                    <a:pt x="77" y="320"/>
                  </a:lnTo>
                  <a:lnTo>
                    <a:pt x="92" y="339"/>
                  </a:lnTo>
                  <a:lnTo>
                    <a:pt x="101" y="346"/>
                  </a:lnTo>
                  <a:lnTo>
                    <a:pt x="108" y="354"/>
                  </a:lnTo>
                  <a:lnTo>
                    <a:pt x="117" y="360"/>
                  </a:lnTo>
                  <a:lnTo>
                    <a:pt x="125" y="366"/>
                  </a:lnTo>
                  <a:lnTo>
                    <a:pt x="125" y="366"/>
                  </a:lnTo>
                  <a:lnTo>
                    <a:pt x="135" y="371"/>
                  </a:lnTo>
                  <a:lnTo>
                    <a:pt x="144" y="374"/>
                  </a:lnTo>
                  <a:lnTo>
                    <a:pt x="154" y="376"/>
                  </a:lnTo>
                  <a:lnTo>
                    <a:pt x="163" y="378"/>
                  </a:lnTo>
                  <a:lnTo>
                    <a:pt x="163" y="378"/>
                  </a:lnTo>
                  <a:lnTo>
                    <a:pt x="170" y="378"/>
                  </a:lnTo>
                  <a:lnTo>
                    <a:pt x="177" y="376"/>
                  </a:lnTo>
                  <a:lnTo>
                    <a:pt x="190" y="371"/>
                  </a:lnTo>
                  <a:lnTo>
                    <a:pt x="204" y="364"/>
                  </a:lnTo>
                  <a:lnTo>
                    <a:pt x="217" y="355"/>
                  </a:lnTo>
                  <a:lnTo>
                    <a:pt x="217" y="355"/>
                  </a:lnTo>
                  <a:lnTo>
                    <a:pt x="230" y="344"/>
                  </a:lnTo>
                  <a:lnTo>
                    <a:pt x="241" y="330"/>
                  </a:lnTo>
                  <a:lnTo>
                    <a:pt x="252" y="315"/>
                  </a:lnTo>
                  <a:lnTo>
                    <a:pt x="262" y="298"/>
                  </a:lnTo>
                  <a:lnTo>
                    <a:pt x="262" y="298"/>
                  </a:lnTo>
                  <a:lnTo>
                    <a:pt x="275" y="273"/>
                  </a:lnTo>
                  <a:lnTo>
                    <a:pt x="285" y="248"/>
                  </a:lnTo>
                  <a:lnTo>
                    <a:pt x="285" y="248"/>
                  </a:lnTo>
                  <a:lnTo>
                    <a:pt x="285" y="248"/>
                  </a:lnTo>
                  <a:lnTo>
                    <a:pt x="285" y="248"/>
                  </a:lnTo>
                  <a:lnTo>
                    <a:pt x="293" y="246"/>
                  </a:lnTo>
                  <a:lnTo>
                    <a:pt x="300" y="244"/>
                  </a:lnTo>
                  <a:lnTo>
                    <a:pt x="308" y="240"/>
                  </a:lnTo>
                  <a:lnTo>
                    <a:pt x="314" y="235"/>
                  </a:lnTo>
                  <a:lnTo>
                    <a:pt x="322" y="230"/>
                  </a:lnTo>
                  <a:lnTo>
                    <a:pt x="327" y="222"/>
                  </a:lnTo>
                  <a:lnTo>
                    <a:pt x="331" y="215"/>
                  </a:lnTo>
                  <a:lnTo>
                    <a:pt x="332" y="206"/>
                  </a:lnTo>
                  <a:lnTo>
                    <a:pt x="332" y="206"/>
                  </a:lnTo>
                  <a:lnTo>
                    <a:pt x="331" y="198"/>
                  </a:lnTo>
                  <a:lnTo>
                    <a:pt x="329" y="191"/>
                  </a:lnTo>
                  <a:lnTo>
                    <a:pt x="326" y="183"/>
                  </a:lnTo>
                  <a:lnTo>
                    <a:pt x="323" y="177"/>
                  </a:lnTo>
                  <a:lnTo>
                    <a:pt x="318" y="172"/>
                  </a:lnTo>
                  <a:lnTo>
                    <a:pt x="313" y="168"/>
                  </a:lnTo>
                  <a:lnTo>
                    <a:pt x="307" y="166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300" y="158"/>
                  </a:lnTo>
                  <a:lnTo>
                    <a:pt x="300" y="158"/>
                  </a:lnTo>
                  <a:lnTo>
                    <a:pt x="300" y="139"/>
                  </a:lnTo>
                  <a:lnTo>
                    <a:pt x="298" y="121"/>
                  </a:lnTo>
                  <a:lnTo>
                    <a:pt x="294" y="105"/>
                  </a:lnTo>
                  <a:lnTo>
                    <a:pt x="289" y="90"/>
                  </a:lnTo>
                  <a:lnTo>
                    <a:pt x="283" y="76"/>
                  </a:lnTo>
                  <a:lnTo>
                    <a:pt x="275" y="63"/>
                  </a:lnTo>
                  <a:lnTo>
                    <a:pt x="266" y="51"/>
                  </a:lnTo>
                  <a:lnTo>
                    <a:pt x="257" y="41"/>
                  </a:lnTo>
                  <a:lnTo>
                    <a:pt x="247" y="32"/>
                  </a:lnTo>
                  <a:lnTo>
                    <a:pt x="236" y="23"/>
                  </a:lnTo>
                  <a:lnTo>
                    <a:pt x="225" y="17"/>
                  </a:lnTo>
                  <a:lnTo>
                    <a:pt x="213" y="10"/>
                  </a:lnTo>
                  <a:lnTo>
                    <a:pt x="201" y="6"/>
                  </a:lnTo>
                  <a:lnTo>
                    <a:pt x="188" y="3"/>
                  </a:lnTo>
                  <a:lnTo>
                    <a:pt x="175" y="1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0" y="1"/>
                  </a:lnTo>
                  <a:lnTo>
                    <a:pt x="137" y="3"/>
                  </a:lnTo>
                  <a:lnTo>
                    <a:pt x="125" y="6"/>
                  </a:lnTo>
                  <a:lnTo>
                    <a:pt x="113" y="10"/>
                  </a:lnTo>
                  <a:lnTo>
                    <a:pt x="101" y="17"/>
                  </a:lnTo>
                  <a:lnTo>
                    <a:pt x="89" y="23"/>
                  </a:lnTo>
                  <a:lnTo>
                    <a:pt x="79" y="32"/>
                  </a:lnTo>
                  <a:lnTo>
                    <a:pt x="69" y="41"/>
                  </a:lnTo>
                  <a:lnTo>
                    <a:pt x="59" y="51"/>
                  </a:lnTo>
                  <a:lnTo>
                    <a:pt x="52" y="63"/>
                  </a:lnTo>
                  <a:lnTo>
                    <a:pt x="44" y="76"/>
                  </a:lnTo>
                  <a:lnTo>
                    <a:pt x="38" y="90"/>
                  </a:lnTo>
                  <a:lnTo>
                    <a:pt x="33" y="105"/>
                  </a:lnTo>
                  <a:lnTo>
                    <a:pt x="29" y="121"/>
                  </a:lnTo>
                  <a:lnTo>
                    <a:pt x="26" y="139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6" y="166"/>
                  </a:lnTo>
                  <a:lnTo>
                    <a:pt x="26" y="166"/>
                  </a:lnTo>
                  <a:lnTo>
                    <a:pt x="20" y="168"/>
                  </a:lnTo>
                  <a:lnTo>
                    <a:pt x="15" y="171"/>
                  </a:lnTo>
                  <a:lnTo>
                    <a:pt x="11" y="174"/>
                  </a:lnTo>
                  <a:lnTo>
                    <a:pt x="7" y="179"/>
                  </a:lnTo>
                  <a:lnTo>
                    <a:pt x="4" y="186"/>
                  </a:lnTo>
                  <a:lnTo>
                    <a:pt x="1" y="192"/>
                  </a:lnTo>
                  <a:lnTo>
                    <a:pt x="0" y="198"/>
                  </a:lnTo>
                  <a:lnTo>
                    <a:pt x="0" y="206"/>
                  </a:lnTo>
                  <a:lnTo>
                    <a:pt x="0" y="206"/>
                  </a:lnTo>
                  <a:lnTo>
                    <a:pt x="0" y="214"/>
                  </a:lnTo>
                  <a:lnTo>
                    <a:pt x="4" y="221"/>
                  </a:lnTo>
                  <a:lnTo>
                    <a:pt x="7" y="227"/>
                  </a:lnTo>
                  <a:lnTo>
                    <a:pt x="14" y="234"/>
                  </a:lnTo>
                  <a:lnTo>
                    <a:pt x="20" y="239"/>
                  </a:lnTo>
                  <a:lnTo>
                    <a:pt x="28" y="243"/>
                  </a:lnTo>
                  <a:lnTo>
                    <a:pt x="34" y="245"/>
                  </a:lnTo>
                  <a:lnTo>
                    <a:pt x="41" y="248"/>
                  </a:lnTo>
                  <a:lnTo>
                    <a:pt x="41" y="248"/>
                  </a:lnTo>
                  <a:close/>
                </a:path>
              </a:pathLst>
            </a:custGeom>
            <a:solidFill>
              <a:srgbClr val="878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54" name="Freeform 221">
              <a:extLst>
                <a:ext uri="{FF2B5EF4-FFF2-40B4-BE49-F238E27FC236}">
                  <a16:creationId xmlns:a16="http://schemas.microsoft.com/office/drawing/2014/main" id="{BF7812B8-11F1-44A7-84EF-14676C4CE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350" y="5610226"/>
              <a:ext cx="338138" cy="188913"/>
            </a:xfrm>
            <a:custGeom>
              <a:avLst/>
              <a:gdLst>
                <a:gd name="T0" fmla="*/ 638 w 638"/>
                <a:gd name="T1" fmla="*/ 270 h 357"/>
                <a:gd name="T2" fmla="*/ 638 w 638"/>
                <a:gd name="T3" fmla="*/ 130 h 357"/>
                <a:gd name="T4" fmla="*/ 638 w 638"/>
                <a:gd name="T5" fmla="*/ 93 h 357"/>
                <a:gd name="T6" fmla="*/ 638 w 638"/>
                <a:gd name="T7" fmla="*/ 93 h 357"/>
                <a:gd name="T8" fmla="*/ 623 w 638"/>
                <a:gd name="T9" fmla="*/ 83 h 357"/>
                <a:gd name="T10" fmla="*/ 605 w 638"/>
                <a:gd name="T11" fmla="*/ 72 h 357"/>
                <a:gd name="T12" fmla="*/ 582 w 638"/>
                <a:gd name="T13" fmla="*/ 59 h 357"/>
                <a:gd name="T14" fmla="*/ 553 w 638"/>
                <a:gd name="T15" fmla="*/ 44 h 357"/>
                <a:gd name="T16" fmla="*/ 519 w 638"/>
                <a:gd name="T17" fmla="*/ 29 h 357"/>
                <a:gd name="T18" fmla="*/ 481 w 638"/>
                <a:gd name="T19" fmla="*/ 15 h 357"/>
                <a:gd name="T20" fmla="*/ 461 w 638"/>
                <a:gd name="T21" fmla="*/ 9 h 357"/>
                <a:gd name="T22" fmla="*/ 441 w 638"/>
                <a:gd name="T23" fmla="*/ 2 h 357"/>
                <a:gd name="T24" fmla="*/ 441 w 638"/>
                <a:gd name="T25" fmla="*/ 2 h 357"/>
                <a:gd name="T26" fmla="*/ 417 w 638"/>
                <a:gd name="T27" fmla="*/ 49 h 357"/>
                <a:gd name="T28" fmla="*/ 383 w 638"/>
                <a:gd name="T29" fmla="*/ 117 h 357"/>
                <a:gd name="T30" fmla="*/ 347 w 638"/>
                <a:gd name="T31" fmla="*/ 183 h 357"/>
                <a:gd name="T32" fmla="*/ 332 w 638"/>
                <a:gd name="T33" fmla="*/ 208 h 357"/>
                <a:gd name="T34" fmla="*/ 321 w 638"/>
                <a:gd name="T35" fmla="*/ 225 h 357"/>
                <a:gd name="T36" fmla="*/ 321 w 638"/>
                <a:gd name="T37" fmla="*/ 225 h 357"/>
                <a:gd name="T38" fmla="*/ 270 w 638"/>
                <a:gd name="T39" fmla="*/ 126 h 357"/>
                <a:gd name="T40" fmla="*/ 206 w 638"/>
                <a:gd name="T41" fmla="*/ 0 h 357"/>
                <a:gd name="T42" fmla="*/ 206 w 638"/>
                <a:gd name="T43" fmla="*/ 0 h 357"/>
                <a:gd name="T44" fmla="*/ 185 w 638"/>
                <a:gd name="T45" fmla="*/ 6 h 357"/>
                <a:gd name="T46" fmla="*/ 163 w 638"/>
                <a:gd name="T47" fmla="*/ 12 h 357"/>
                <a:gd name="T48" fmla="*/ 124 w 638"/>
                <a:gd name="T49" fmla="*/ 26 h 357"/>
                <a:gd name="T50" fmla="*/ 89 w 638"/>
                <a:gd name="T51" fmla="*/ 42 h 357"/>
                <a:gd name="T52" fmla="*/ 58 w 638"/>
                <a:gd name="T53" fmla="*/ 57 h 357"/>
                <a:gd name="T54" fmla="*/ 34 w 638"/>
                <a:gd name="T55" fmla="*/ 71 h 357"/>
                <a:gd name="T56" fmla="*/ 15 w 638"/>
                <a:gd name="T57" fmla="*/ 82 h 357"/>
                <a:gd name="T58" fmla="*/ 0 w 638"/>
                <a:gd name="T59" fmla="*/ 93 h 357"/>
                <a:gd name="T60" fmla="*/ 0 w 638"/>
                <a:gd name="T61" fmla="*/ 130 h 357"/>
                <a:gd name="T62" fmla="*/ 0 w 638"/>
                <a:gd name="T63" fmla="*/ 270 h 357"/>
                <a:gd name="T64" fmla="*/ 0 w 638"/>
                <a:gd name="T65" fmla="*/ 357 h 357"/>
                <a:gd name="T66" fmla="*/ 638 w 638"/>
                <a:gd name="T67" fmla="*/ 357 h 357"/>
                <a:gd name="T68" fmla="*/ 638 w 638"/>
                <a:gd name="T69" fmla="*/ 27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8" h="357">
                  <a:moveTo>
                    <a:pt x="638" y="270"/>
                  </a:moveTo>
                  <a:lnTo>
                    <a:pt x="638" y="130"/>
                  </a:lnTo>
                  <a:lnTo>
                    <a:pt x="638" y="93"/>
                  </a:lnTo>
                  <a:lnTo>
                    <a:pt x="638" y="93"/>
                  </a:lnTo>
                  <a:lnTo>
                    <a:pt x="623" y="83"/>
                  </a:lnTo>
                  <a:lnTo>
                    <a:pt x="605" y="72"/>
                  </a:lnTo>
                  <a:lnTo>
                    <a:pt x="582" y="59"/>
                  </a:lnTo>
                  <a:lnTo>
                    <a:pt x="553" y="44"/>
                  </a:lnTo>
                  <a:lnTo>
                    <a:pt x="519" y="29"/>
                  </a:lnTo>
                  <a:lnTo>
                    <a:pt x="481" y="15"/>
                  </a:lnTo>
                  <a:lnTo>
                    <a:pt x="461" y="9"/>
                  </a:lnTo>
                  <a:lnTo>
                    <a:pt x="441" y="2"/>
                  </a:lnTo>
                  <a:lnTo>
                    <a:pt x="441" y="2"/>
                  </a:lnTo>
                  <a:lnTo>
                    <a:pt x="417" y="49"/>
                  </a:lnTo>
                  <a:lnTo>
                    <a:pt x="383" y="117"/>
                  </a:lnTo>
                  <a:lnTo>
                    <a:pt x="347" y="183"/>
                  </a:lnTo>
                  <a:lnTo>
                    <a:pt x="332" y="208"/>
                  </a:lnTo>
                  <a:lnTo>
                    <a:pt x="321" y="225"/>
                  </a:lnTo>
                  <a:lnTo>
                    <a:pt x="321" y="225"/>
                  </a:lnTo>
                  <a:lnTo>
                    <a:pt x="270" y="126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185" y="6"/>
                  </a:lnTo>
                  <a:lnTo>
                    <a:pt x="163" y="12"/>
                  </a:lnTo>
                  <a:lnTo>
                    <a:pt x="124" y="26"/>
                  </a:lnTo>
                  <a:lnTo>
                    <a:pt x="89" y="42"/>
                  </a:lnTo>
                  <a:lnTo>
                    <a:pt x="58" y="57"/>
                  </a:lnTo>
                  <a:lnTo>
                    <a:pt x="34" y="71"/>
                  </a:lnTo>
                  <a:lnTo>
                    <a:pt x="15" y="82"/>
                  </a:lnTo>
                  <a:lnTo>
                    <a:pt x="0" y="93"/>
                  </a:lnTo>
                  <a:lnTo>
                    <a:pt x="0" y="130"/>
                  </a:lnTo>
                  <a:lnTo>
                    <a:pt x="0" y="270"/>
                  </a:lnTo>
                  <a:lnTo>
                    <a:pt x="0" y="357"/>
                  </a:lnTo>
                  <a:lnTo>
                    <a:pt x="638" y="357"/>
                  </a:lnTo>
                  <a:lnTo>
                    <a:pt x="638" y="270"/>
                  </a:lnTo>
                  <a:close/>
                </a:path>
              </a:pathLst>
            </a:custGeom>
            <a:solidFill>
              <a:srgbClr val="878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56" name="Freeform 222">
              <a:extLst>
                <a:ext uri="{FF2B5EF4-FFF2-40B4-BE49-F238E27FC236}">
                  <a16:creationId xmlns:a16="http://schemas.microsoft.com/office/drawing/2014/main" id="{759CA73E-B2FF-44A9-BCC8-44B0FC61C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1900" y="5411788"/>
              <a:ext cx="174625" cy="200025"/>
            </a:xfrm>
            <a:custGeom>
              <a:avLst/>
              <a:gdLst>
                <a:gd name="T0" fmla="*/ 42 w 332"/>
                <a:gd name="T1" fmla="*/ 248 h 378"/>
                <a:gd name="T2" fmla="*/ 65 w 332"/>
                <a:gd name="T3" fmla="*/ 298 h 378"/>
                <a:gd name="T4" fmla="*/ 79 w 332"/>
                <a:gd name="T5" fmla="*/ 320 h 378"/>
                <a:gd name="T6" fmla="*/ 101 w 332"/>
                <a:gd name="T7" fmla="*/ 346 h 378"/>
                <a:gd name="T8" fmla="*/ 118 w 332"/>
                <a:gd name="T9" fmla="*/ 360 h 378"/>
                <a:gd name="T10" fmla="*/ 125 w 332"/>
                <a:gd name="T11" fmla="*/ 366 h 378"/>
                <a:gd name="T12" fmla="*/ 144 w 332"/>
                <a:gd name="T13" fmla="*/ 374 h 378"/>
                <a:gd name="T14" fmla="*/ 163 w 332"/>
                <a:gd name="T15" fmla="*/ 378 h 378"/>
                <a:gd name="T16" fmla="*/ 171 w 332"/>
                <a:gd name="T17" fmla="*/ 378 h 378"/>
                <a:gd name="T18" fmla="*/ 191 w 332"/>
                <a:gd name="T19" fmla="*/ 371 h 378"/>
                <a:gd name="T20" fmla="*/ 218 w 332"/>
                <a:gd name="T21" fmla="*/ 355 h 378"/>
                <a:gd name="T22" fmla="*/ 230 w 332"/>
                <a:gd name="T23" fmla="*/ 344 h 378"/>
                <a:gd name="T24" fmla="*/ 253 w 332"/>
                <a:gd name="T25" fmla="*/ 315 h 378"/>
                <a:gd name="T26" fmla="*/ 263 w 332"/>
                <a:gd name="T27" fmla="*/ 298 h 378"/>
                <a:gd name="T28" fmla="*/ 286 w 332"/>
                <a:gd name="T29" fmla="*/ 248 h 378"/>
                <a:gd name="T30" fmla="*/ 286 w 332"/>
                <a:gd name="T31" fmla="*/ 248 h 378"/>
                <a:gd name="T32" fmla="*/ 293 w 332"/>
                <a:gd name="T33" fmla="*/ 246 h 378"/>
                <a:gd name="T34" fmla="*/ 309 w 332"/>
                <a:gd name="T35" fmla="*/ 240 h 378"/>
                <a:gd name="T36" fmla="*/ 322 w 332"/>
                <a:gd name="T37" fmla="*/ 230 h 378"/>
                <a:gd name="T38" fmla="*/ 331 w 332"/>
                <a:gd name="T39" fmla="*/ 215 h 378"/>
                <a:gd name="T40" fmla="*/ 332 w 332"/>
                <a:gd name="T41" fmla="*/ 206 h 378"/>
                <a:gd name="T42" fmla="*/ 330 w 332"/>
                <a:gd name="T43" fmla="*/ 191 h 378"/>
                <a:gd name="T44" fmla="*/ 324 w 332"/>
                <a:gd name="T45" fmla="*/ 177 h 378"/>
                <a:gd name="T46" fmla="*/ 314 w 332"/>
                <a:gd name="T47" fmla="*/ 168 h 378"/>
                <a:gd name="T48" fmla="*/ 301 w 332"/>
                <a:gd name="T49" fmla="*/ 166 h 378"/>
                <a:gd name="T50" fmla="*/ 301 w 332"/>
                <a:gd name="T51" fmla="*/ 166 h 378"/>
                <a:gd name="T52" fmla="*/ 301 w 332"/>
                <a:gd name="T53" fmla="*/ 158 h 378"/>
                <a:gd name="T54" fmla="*/ 301 w 332"/>
                <a:gd name="T55" fmla="*/ 139 h 378"/>
                <a:gd name="T56" fmla="*/ 295 w 332"/>
                <a:gd name="T57" fmla="*/ 105 h 378"/>
                <a:gd name="T58" fmla="*/ 283 w 332"/>
                <a:gd name="T59" fmla="*/ 76 h 378"/>
                <a:gd name="T60" fmla="*/ 267 w 332"/>
                <a:gd name="T61" fmla="*/ 51 h 378"/>
                <a:gd name="T62" fmla="*/ 248 w 332"/>
                <a:gd name="T63" fmla="*/ 32 h 378"/>
                <a:gd name="T64" fmla="*/ 225 w 332"/>
                <a:gd name="T65" fmla="*/ 17 h 378"/>
                <a:gd name="T66" fmla="*/ 201 w 332"/>
                <a:gd name="T67" fmla="*/ 6 h 378"/>
                <a:gd name="T68" fmla="*/ 176 w 332"/>
                <a:gd name="T69" fmla="*/ 1 h 378"/>
                <a:gd name="T70" fmla="*/ 163 w 332"/>
                <a:gd name="T71" fmla="*/ 0 h 378"/>
                <a:gd name="T72" fmla="*/ 138 w 332"/>
                <a:gd name="T73" fmla="*/ 3 h 378"/>
                <a:gd name="T74" fmla="*/ 114 w 332"/>
                <a:gd name="T75" fmla="*/ 10 h 378"/>
                <a:gd name="T76" fmla="*/ 90 w 332"/>
                <a:gd name="T77" fmla="*/ 23 h 378"/>
                <a:gd name="T78" fmla="*/ 70 w 332"/>
                <a:gd name="T79" fmla="*/ 41 h 378"/>
                <a:gd name="T80" fmla="*/ 52 w 332"/>
                <a:gd name="T81" fmla="*/ 63 h 378"/>
                <a:gd name="T82" fmla="*/ 38 w 332"/>
                <a:gd name="T83" fmla="*/ 90 h 378"/>
                <a:gd name="T84" fmla="*/ 30 w 332"/>
                <a:gd name="T85" fmla="*/ 121 h 378"/>
                <a:gd name="T86" fmla="*/ 26 w 332"/>
                <a:gd name="T87" fmla="*/ 158 h 378"/>
                <a:gd name="T88" fmla="*/ 27 w 332"/>
                <a:gd name="T89" fmla="*/ 166 h 378"/>
                <a:gd name="T90" fmla="*/ 21 w 332"/>
                <a:gd name="T91" fmla="*/ 168 h 378"/>
                <a:gd name="T92" fmla="*/ 12 w 332"/>
                <a:gd name="T93" fmla="*/ 174 h 378"/>
                <a:gd name="T94" fmla="*/ 4 w 332"/>
                <a:gd name="T95" fmla="*/ 186 h 378"/>
                <a:gd name="T96" fmla="*/ 0 w 332"/>
                <a:gd name="T97" fmla="*/ 198 h 378"/>
                <a:gd name="T98" fmla="*/ 0 w 332"/>
                <a:gd name="T99" fmla="*/ 206 h 378"/>
                <a:gd name="T100" fmla="*/ 4 w 332"/>
                <a:gd name="T101" fmla="*/ 221 h 378"/>
                <a:gd name="T102" fmla="*/ 14 w 332"/>
                <a:gd name="T103" fmla="*/ 234 h 378"/>
                <a:gd name="T104" fmla="*/ 28 w 332"/>
                <a:gd name="T105" fmla="*/ 243 h 378"/>
                <a:gd name="T106" fmla="*/ 42 w 332"/>
                <a:gd name="T107" fmla="*/ 24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378">
                  <a:moveTo>
                    <a:pt x="42" y="248"/>
                  </a:moveTo>
                  <a:lnTo>
                    <a:pt x="42" y="248"/>
                  </a:lnTo>
                  <a:lnTo>
                    <a:pt x="52" y="274"/>
                  </a:lnTo>
                  <a:lnTo>
                    <a:pt x="65" y="298"/>
                  </a:lnTo>
                  <a:lnTo>
                    <a:pt x="65" y="298"/>
                  </a:lnTo>
                  <a:lnTo>
                    <a:pt x="79" y="320"/>
                  </a:lnTo>
                  <a:lnTo>
                    <a:pt x="93" y="339"/>
                  </a:lnTo>
                  <a:lnTo>
                    <a:pt x="101" y="346"/>
                  </a:lnTo>
                  <a:lnTo>
                    <a:pt x="109" y="354"/>
                  </a:lnTo>
                  <a:lnTo>
                    <a:pt x="118" y="360"/>
                  </a:lnTo>
                  <a:lnTo>
                    <a:pt x="125" y="366"/>
                  </a:lnTo>
                  <a:lnTo>
                    <a:pt x="125" y="366"/>
                  </a:lnTo>
                  <a:lnTo>
                    <a:pt x="136" y="371"/>
                  </a:lnTo>
                  <a:lnTo>
                    <a:pt x="144" y="374"/>
                  </a:lnTo>
                  <a:lnTo>
                    <a:pt x="154" y="376"/>
                  </a:lnTo>
                  <a:lnTo>
                    <a:pt x="163" y="378"/>
                  </a:lnTo>
                  <a:lnTo>
                    <a:pt x="163" y="378"/>
                  </a:lnTo>
                  <a:lnTo>
                    <a:pt x="171" y="378"/>
                  </a:lnTo>
                  <a:lnTo>
                    <a:pt x="177" y="376"/>
                  </a:lnTo>
                  <a:lnTo>
                    <a:pt x="191" y="371"/>
                  </a:lnTo>
                  <a:lnTo>
                    <a:pt x="205" y="364"/>
                  </a:lnTo>
                  <a:lnTo>
                    <a:pt x="218" y="355"/>
                  </a:lnTo>
                  <a:lnTo>
                    <a:pt x="218" y="355"/>
                  </a:lnTo>
                  <a:lnTo>
                    <a:pt x="230" y="344"/>
                  </a:lnTo>
                  <a:lnTo>
                    <a:pt x="242" y="330"/>
                  </a:lnTo>
                  <a:lnTo>
                    <a:pt x="253" y="315"/>
                  </a:lnTo>
                  <a:lnTo>
                    <a:pt x="263" y="298"/>
                  </a:lnTo>
                  <a:lnTo>
                    <a:pt x="263" y="298"/>
                  </a:lnTo>
                  <a:lnTo>
                    <a:pt x="276" y="273"/>
                  </a:lnTo>
                  <a:lnTo>
                    <a:pt x="286" y="248"/>
                  </a:lnTo>
                  <a:lnTo>
                    <a:pt x="286" y="248"/>
                  </a:lnTo>
                  <a:lnTo>
                    <a:pt x="286" y="248"/>
                  </a:lnTo>
                  <a:lnTo>
                    <a:pt x="286" y="248"/>
                  </a:lnTo>
                  <a:lnTo>
                    <a:pt x="293" y="246"/>
                  </a:lnTo>
                  <a:lnTo>
                    <a:pt x="301" y="244"/>
                  </a:lnTo>
                  <a:lnTo>
                    <a:pt x="309" y="240"/>
                  </a:lnTo>
                  <a:lnTo>
                    <a:pt x="316" y="235"/>
                  </a:lnTo>
                  <a:lnTo>
                    <a:pt x="322" y="230"/>
                  </a:lnTo>
                  <a:lnTo>
                    <a:pt x="327" y="222"/>
                  </a:lnTo>
                  <a:lnTo>
                    <a:pt x="331" y="215"/>
                  </a:lnTo>
                  <a:lnTo>
                    <a:pt x="332" y="206"/>
                  </a:lnTo>
                  <a:lnTo>
                    <a:pt x="332" y="206"/>
                  </a:lnTo>
                  <a:lnTo>
                    <a:pt x="331" y="198"/>
                  </a:lnTo>
                  <a:lnTo>
                    <a:pt x="330" y="191"/>
                  </a:lnTo>
                  <a:lnTo>
                    <a:pt x="327" y="183"/>
                  </a:lnTo>
                  <a:lnTo>
                    <a:pt x="324" y="177"/>
                  </a:lnTo>
                  <a:lnTo>
                    <a:pt x="319" y="172"/>
                  </a:lnTo>
                  <a:lnTo>
                    <a:pt x="314" y="168"/>
                  </a:lnTo>
                  <a:lnTo>
                    <a:pt x="307" y="166"/>
                  </a:lnTo>
                  <a:lnTo>
                    <a:pt x="301" y="166"/>
                  </a:lnTo>
                  <a:lnTo>
                    <a:pt x="301" y="166"/>
                  </a:lnTo>
                  <a:lnTo>
                    <a:pt x="301" y="166"/>
                  </a:lnTo>
                  <a:lnTo>
                    <a:pt x="301" y="166"/>
                  </a:lnTo>
                  <a:lnTo>
                    <a:pt x="301" y="158"/>
                  </a:lnTo>
                  <a:lnTo>
                    <a:pt x="301" y="158"/>
                  </a:lnTo>
                  <a:lnTo>
                    <a:pt x="301" y="139"/>
                  </a:lnTo>
                  <a:lnTo>
                    <a:pt x="298" y="121"/>
                  </a:lnTo>
                  <a:lnTo>
                    <a:pt x="295" y="105"/>
                  </a:lnTo>
                  <a:lnTo>
                    <a:pt x="290" y="90"/>
                  </a:lnTo>
                  <a:lnTo>
                    <a:pt x="283" y="76"/>
                  </a:lnTo>
                  <a:lnTo>
                    <a:pt x="276" y="63"/>
                  </a:lnTo>
                  <a:lnTo>
                    <a:pt x="267" y="51"/>
                  </a:lnTo>
                  <a:lnTo>
                    <a:pt x="258" y="41"/>
                  </a:lnTo>
                  <a:lnTo>
                    <a:pt x="248" y="32"/>
                  </a:lnTo>
                  <a:lnTo>
                    <a:pt x="237" y="23"/>
                  </a:lnTo>
                  <a:lnTo>
                    <a:pt x="225" y="17"/>
                  </a:lnTo>
                  <a:lnTo>
                    <a:pt x="214" y="10"/>
                  </a:lnTo>
                  <a:lnTo>
                    <a:pt x="201" y="6"/>
                  </a:lnTo>
                  <a:lnTo>
                    <a:pt x="189" y="3"/>
                  </a:lnTo>
                  <a:lnTo>
                    <a:pt x="176" y="1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1" y="1"/>
                  </a:lnTo>
                  <a:lnTo>
                    <a:pt x="138" y="3"/>
                  </a:lnTo>
                  <a:lnTo>
                    <a:pt x="125" y="6"/>
                  </a:lnTo>
                  <a:lnTo>
                    <a:pt x="114" y="10"/>
                  </a:lnTo>
                  <a:lnTo>
                    <a:pt x="101" y="17"/>
                  </a:lnTo>
                  <a:lnTo>
                    <a:pt x="90" y="23"/>
                  </a:lnTo>
                  <a:lnTo>
                    <a:pt x="80" y="32"/>
                  </a:lnTo>
                  <a:lnTo>
                    <a:pt x="70" y="41"/>
                  </a:lnTo>
                  <a:lnTo>
                    <a:pt x="60" y="51"/>
                  </a:lnTo>
                  <a:lnTo>
                    <a:pt x="52" y="63"/>
                  </a:lnTo>
                  <a:lnTo>
                    <a:pt x="45" y="76"/>
                  </a:lnTo>
                  <a:lnTo>
                    <a:pt x="38" y="90"/>
                  </a:lnTo>
                  <a:lnTo>
                    <a:pt x="33" y="105"/>
                  </a:lnTo>
                  <a:lnTo>
                    <a:pt x="30" y="121"/>
                  </a:lnTo>
                  <a:lnTo>
                    <a:pt x="27" y="139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27" y="166"/>
                  </a:lnTo>
                  <a:lnTo>
                    <a:pt x="27" y="166"/>
                  </a:lnTo>
                  <a:lnTo>
                    <a:pt x="21" y="168"/>
                  </a:lnTo>
                  <a:lnTo>
                    <a:pt x="16" y="171"/>
                  </a:lnTo>
                  <a:lnTo>
                    <a:pt x="12" y="174"/>
                  </a:lnTo>
                  <a:lnTo>
                    <a:pt x="8" y="179"/>
                  </a:lnTo>
                  <a:lnTo>
                    <a:pt x="4" y="186"/>
                  </a:lnTo>
                  <a:lnTo>
                    <a:pt x="2" y="192"/>
                  </a:lnTo>
                  <a:lnTo>
                    <a:pt x="0" y="198"/>
                  </a:lnTo>
                  <a:lnTo>
                    <a:pt x="0" y="206"/>
                  </a:lnTo>
                  <a:lnTo>
                    <a:pt x="0" y="206"/>
                  </a:lnTo>
                  <a:lnTo>
                    <a:pt x="2" y="214"/>
                  </a:lnTo>
                  <a:lnTo>
                    <a:pt x="4" y="221"/>
                  </a:lnTo>
                  <a:lnTo>
                    <a:pt x="9" y="227"/>
                  </a:lnTo>
                  <a:lnTo>
                    <a:pt x="14" y="234"/>
                  </a:lnTo>
                  <a:lnTo>
                    <a:pt x="21" y="239"/>
                  </a:lnTo>
                  <a:lnTo>
                    <a:pt x="28" y="243"/>
                  </a:lnTo>
                  <a:lnTo>
                    <a:pt x="35" y="245"/>
                  </a:lnTo>
                  <a:lnTo>
                    <a:pt x="42" y="248"/>
                  </a:lnTo>
                  <a:lnTo>
                    <a:pt x="42" y="248"/>
                  </a:lnTo>
                  <a:close/>
                </a:path>
              </a:pathLst>
            </a:custGeom>
            <a:solidFill>
              <a:srgbClr val="878C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57" name="Freeform 223">
              <a:extLst>
                <a:ext uri="{FF2B5EF4-FFF2-40B4-BE49-F238E27FC236}">
                  <a16:creationId xmlns:a16="http://schemas.microsoft.com/office/drawing/2014/main" id="{7168828A-3D77-4180-9199-2AB645D12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3638" y="5413376"/>
              <a:ext cx="1588" cy="1588"/>
            </a:xfrm>
            <a:custGeom>
              <a:avLst/>
              <a:gdLst>
                <a:gd name="T0" fmla="*/ 3 w 3"/>
                <a:gd name="T1" fmla="*/ 0 h 2"/>
                <a:gd name="T2" fmla="*/ 3 w 3"/>
                <a:gd name="T3" fmla="*/ 0 h 2"/>
                <a:gd name="T4" fmla="*/ 0 w 3"/>
                <a:gd name="T5" fmla="*/ 2 h 2"/>
                <a:gd name="T6" fmla="*/ 0 w 3"/>
                <a:gd name="T7" fmla="*/ 2 h 2"/>
                <a:gd name="T8" fmla="*/ 3 w 3"/>
                <a:gd name="T9" fmla="*/ 0 h 2"/>
                <a:gd name="T10" fmla="*/ 3 w 3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58" name="Freeform 224">
              <a:extLst>
                <a:ext uri="{FF2B5EF4-FFF2-40B4-BE49-F238E27FC236}">
                  <a16:creationId xmlns:a16="http://schemas.microsoft.com/office/drawing/2014/main" id="{3029FFF0-5987-4B46-8995-B6D48A2A6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5" y="5414963"/>
              <a:ext cx="4763" cy="3175"/>
            </a:xfrm>
            <a:custGeom>
              <a:avLst/>
              <a:gdLst>
                <a:gd name="T0" fmla="*/ 9 w 9"/>
                <a:gd name="T1" fmla="*/ 0 h 7"/>
                <a:gd name="T2" fmla="*/ 9 w 9"/>
                <a:gd name="T3" fmla="*/ 0 h 7"/>
                <a:gd name="T4" fmla="*/ 0 w 9"/>
                <a:gd name="T5" fmla="*/ 7 h 7"/>
                <a:gd name="T6" fmla="*/ 0 w 9"/>
                <a:gd name="T7" fmla="*/ 7 h 7"/>
                <a:gd name="T8" fmla="*/ 9 w 9"/>
                <a:gd name="T9" fmla="*/ 0 h 7"/>
                <a:gd name="T10" fmla="*/ 9 w 9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7">
                  <a:moveTo>
                    <a:pt x="9" y="0"/>
                  </a:moveTo>
                  <a:lnTo>
                    <a:pt x="9" y="0"/>
                  </a:lnTo>
                  <a:lnTo>
                    <a:pt x="0" y="7"/>
                  </a:lnTo>
                  <a:lnTo>
                    <a:pt x="0" y="7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59" name="Freeform 225">
              <a:extLst>
                <a:ext uri="{FF2B5EF4-FFF2-40B4-BE49-F238E27FC236}">
                  <a16:creationId xmlns:a16="http://schemas.microsoft.com/office/drawing/2014/main" id="{657AFF80-57E0-436E-A757-EEE864118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1075" y="5224463"/>
              <a:ext cx="290513" cy="196850"/>
            </a:xfrm>
            <a:custGeom>
              <a:avLst/>
              <a:gdLst>
                <a:gd name="T0" fmla="*/ 526 w 549"/>
                <a:gd name="T1" fmla="*/ 226 h 372"/>
                <a:gd name="T2" fmla="*/ 536 w 549"/>
                <a:gd name="T3" fmla="*/ 219 h 372"/>
                <a:gd name="T4" fmla="*/ 548 w 549"/>
                <a:gd name="T5" fmla="*/ 197 h 372"/>
                <a:gd name="T6" fmla="*/ 548 w 549"/>
                <a:gd name="T7" fmla="*/ 175 h 372"/>
                <a:gd name="T8" fmla="*/ 536 w 549"/>
                <a:gd name="T9" fmla="*/ 154 h 372"/>
                <a:gd name="T10" fmla="*/ 350 w 549"/>
                <a:gd name="T11" fmla="*/ 14 h 372"/>
                <a:gd name="T12" fmla="*/ 339 w 549"/>
                <a:gd name="T13" fmla="*/ 8 h 372"/>
                <a:gd name="T14" fmla="*/ 314 w 549"/>
                <a:gd name="T15" fmla="*/ 2 h 372"/>
                <a:gd name="T16" fmla="*/ 288 w 549"/>
                <a:gd name="T17" fmla="*/ 2 h 372"/>
                <a:gd name="T18" fmla="*/ 264 w 549"/>
                <a:gd name="T19" fmla="*/ 11 h 372"/>
                <a:gd name="T20" fmla="*/ 252 w 549"/>
                <a:gd name="T21" fmla="*/ 18 h 372"/>
                <a:gd name="T22" fmla="*/ 238 w 549"/>
                <a:gd name="T23" fmla="*/ 37 h 372"/>
                <a:gd name="T24" fmla="*/ 235 w 549"/>
                <a:gd name="T25" fmla="*/ 57 h 372"/>
                <a:gd name="T26" fmla="*/ 241 w 549"/>
                <a:gd name="T27" fmla="*/ 79 h 372"/>
                <a:gd name="T28" fmla="*/ 257 w 549"/>
                <a:gd name="T29" fmla="*/ 96 h 372"/>
                <a:gd name="T30" fmla="*/ 68 w 549"/>
                <a:gd name="T31" fmla="*/ 132 h 372"/>
                <a:gd name="T32" fmla="*/ 54 w 549"/>
                <a:gd name="T33" fmla="*/ 132 h 372"/>
                <a:gd name="T34" fmla="*/ 30 w 549"/>
                <a:gd name="T35" fmla="*/ 141 h 372"/>
                <a:gd name="T36" fmla="*/ 11 w 549"/>
                <a:gd name="T37" fmla="*/ 156 h 372"/>
                <a:gd name="T38" fmla="*/ 1 w 549"/>
                <a:gd name="T39" fmla="*/ 176 h 372"/>
                <a:gd name="T40" fmla="*/ 0 w 549"/>
                <a:gd name="T41" fmla="*/ 186 h 372"/>
                <a:gd name="T42" fmla="*/ 5 w 549"/>
                <a:gd name="T43" fmla="*/ 207 h 372"/>
                <a:gd name="T44" fmla="*/ 20 w 549"/>
                <a:gd name="T45" fmla="*/ 225 h 372"/>
                <a:gd name="T46" fmla="*/ 41 w 549"/>
                <a:gd name="T47" fmla="*/ 238 h 372"/>
                <a:gd name="T48" fmla="*/ 68 w 549"/>
                <a:gd name="T49" fmla="*/ 242 h 372"/>
                <a:gd name="T50" fmla="*/ 257 w 549"/>
                <a:gd name="T51" fmla="*/ 277 h 372"/>
                <a:gd name="T52" fmla="*/ 247 w 549"/>
                <a:gd name="T53" fmla="*/ 284 h 372"/>
                <a:gd name="T54" fmla="*/ 237 w 549"/>
                <a:gd name="T55" fmla="*/ 305 h 372"/>
                <a:gd name="T56" fmla="*/ 236 w 549"/>
                <a:gd name="T57" fmla="*/ 326 h 372"/>
                <a:gd name="T58" fmla="*/ 245 w 549"/>
                <a:gd name="T59" fmla="*/ 346 h 372"/>
                <a:gd name="T60" fmla="*/ 252 w 549"/>
                <a:gd name="T61" fmla="*/ 355 h 372"/>
                <a:gd name="T62" fmla="*/ 275 w 549"/>
                <a:gd name="T63" fmla="*/ 368 h 372"/>
                <a:gd name="T64" fmla="*/ 300 w 549"/>
                <a:gd name="T65" fmla="*/ 372 h 372"/>
                <a:gd name="T66" fmla="*/ 327 w 549"/>
                <a:gd name="T67" fmla="*/ 369 h 372"/>
                <a:gd name="T68" fmla="*/ 350 w 549"/>
                <a:gd name="T69" fmla="*/ 35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9" h="372">
                  <a:moveTo>
                    <a:pt x="350" y="358"/>
                  </a:moveTo>
                  <a:lnTo>
                    <a:pt x="526" y="226"/>
                  </a:lnTo>
                  <a:lnTo>
                    <a:pt x="526" y="226"/>
                  </a:lnTo>
                  <a:lnTo>
                    <a:pt x="536" y="219"/>
                  </a:lnTo>
                  <a:lnTo>
                    <a:pt x="543" y="209"/>
                  </a:lnTo>
                  <a:lnTo>
                    <a:pt x="548" y="197"/>
                  </a:lnTo>
                  <a:lnTo>
                    <a:pt x="549" y="186"/>
                  </a:lnTo>
                  <a:lnTo>
                    <a:pt x="548" y="175"/>
                  </a:lnTo>
                  <a:lnTo>
                    <a:pt x="543" y="165"/>
                  </a:lnTo>
                  <a:lnTo>
                    <a:pt x="536" y="154"/>
                  </a:lnTo>
                  <a:lnTo>
                    <a:pt x="526" y="146"/>
                  </a:lnTo>
                  <a:lnTo>
                    <a:pt x="350" y="14"/>
                  </a:lnTo>
                  <a:lnTo>
                    <a:pt x="350" y="14"/>
                  </a:lnTo>
                  <a:lnTo>
                    <a:pt x="339" y="8"/>
                  </a:lnTo>
                  <a:lnTo>
                    <a:pt x="327" y="4"/>
                  </a:lnTo>
                  <a:lnTo>
                    <a:pt x="314" y="2"/>
                  </a:lnTo>
                  <a:lnTo>
                    <a:pt x="300" y="0"/>
                  </a:lnTo>
                  <a:lnTo>
                    <a:pt x="288" y="2"/>
                  </a:lnTo>
                  <a:lnTo>
                    <a:pt x="275" y="6"/>
                  </a:lnTo>
                  <a:lnTo>
                    <a:pt x="264" y="11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45" y="27"/>
                  </a:lnTo>
                  <a:lnTo>
                    <a:pt x="238" y="37"/>
                  </a:lnTo>
                  <a:lnTo>
                    <a:pt x="236" y="47"/>
                  </a:lnTo>
                  <a:lnTo>
                    <a:pt x="235" y="57"/>
                  </a:lnTo>
                  <a:lnTo>
                    <a:pt x="237" y="69"/>
                  </a:lnTo>
                  <a:lnTo>
                    <a:pt x="241" y="79"/>
                  </a:lnTo>
                  <a:lnTo>
                    <a:pt x="247" y="88"/>
                  </a:lnTo>
                  <a:lnTo>
                    <a:pt x="257" y="96"/>
                  </a:lnTo>
                  <a:lnTo>
                    <a:pt x="304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54" y="132"/>
                  </a:lnTo>
                  <a:lnTo>
                    <a:pt x="41" y="136"/>
                  </a:lnTo>
                  <a:lnTo>
                    <a:pt x="30" y="141"/>
                  </a:lnTo>
                  <a:lnTo>
                    <a:pt x="20" y="148"/>
                  </a:lnTo>
                  <a:lnTo>
                    <a:pt x="11" y="156"/>
                  </a:lnTo>
                  <a:lnTo>
                    <a:pt x="5" y="165"/>
                  </a:lnTo>
                  <a:lnTo>
                    <a:pt x="1" y="17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1" y="197"/>
                  </a:lnTo>
                  <a:lnTo>
                    <a:pt x="5" y="207"/>
                  </a:lnTo>
                  <a:lnTo>
                    <a:pt x="11" y="218"/>
                  </a:lnTo>
                  <a:lnTo>
                    <a:pt x="20" y="225"/>
                  </a:lnTo>
                  <a:lnTo>
                    <a:pt x="30" y="231"/>
                  </a:lnTo>
                  <a:lnTo>
                    <a:pt x="41" y="238"/>
                  </a:lnTo>
                  <a:lnTo>
                    <a:pt x="54" y="240"/>
                  </a:lnTo>
                  <a:lnTo>
                    <a:pt x="68" y="242"/>
                  </a:lnTo>
                  <a:lnTo>
                    <a:pt x="304" y="242"/>
                  </a:lnTo>
                  <a:lnTo>
                    <a:pt x="257" y="277"/>
                  </a:lnTo>
                  <a:lnTo>
                    <a:pt x="257" y="277"/>
                  </a:lnTo>
                  <a:lnTo>
                    <a:pt x="247" y="284"/>
                  </a:lnTo>
                  <a:lnTo>
                    <a:pt x="241" y="295"/>
                  </a:lnTo>
                  <a:lnTo>
                    <a:pt x="237" y="305"/>
                  </a:lnTo>
                  <a:lnTo>
                    <a:pt x="235" y="315"/>
                  </a:lnTo>
                  <a:lnTo>
                    <a:pt x="236" y="326"/>
                  </a:lnTo>
                  <a:lnTo>
                    <a:pt x="238" y="336"/>
                  </a:lnTo>
                  <a:lnTo>
                    <a:pt x="245" y="346"/>
                  </a:lnTo>
                  <a:lnTo>
                    <a:pt x="252" y="355"/>
                  </a:lnTo>
                  <a:lnTo>
                    <a:pt x="252" y="355"/>
                  </a:lnTo>
                  <a:lnTo>
                    <a:pt x="264" y="361"/>
                  </a:lnTo>
                  <a:lnTo>
                    <a:pt x="275" y="368"/>
                  </a:lnTo>
                  <a:lnTo>
                    <a:pt x="288" y="370"/>
                  </a:lnTo>
                  <a:lnTo>
                    <a:pt x="300" y="372"/>
                  </a:lnTo>
                  <a:lnTo>
                    <a:pt x="314" y="372"/>
                  </a:lnTo>
                  <a:lnTo>
                    <a:pt x="327" y="369"/>
                  </a:lnTo>
                  <a:lnTo>
                    <a:pt x="339" y="364"/>
                  </a:lnTo>
                  <a:lnTo>
                    <a:pt x="350" y="358"/>
                  </a:lnTo>
                  <a:lnTo>
                    <a:pt x="350" y="358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60" name="Freeform 226">
              <a:extLst>
                <a:ext uri="{FF2B5EF4-FFF2-40B4-BE49-F238E27FC236}">
                  <a16:creationId xmlns:a16="http://schemas.microsoft.com/office/drawing/2014/main" id="{8D9F3891-BDD5-4A6D-A141-E88A9FA7A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4413" y="5592763"/>
              <a:ext cx="1588" cy="1588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3 w 3"/>
                <a:gd name="T5" fmla="*/ 3 h 3"/>
                <a:gd name="T6" fmla="*/ 3 w 3"/>
                <a:gd name="T7" fmla="*/ 3 h 3"/>
                <a:gd name="T8" fmla="*/ 0 w 3"/>
                <a:gd name="T9" fmla="*/ 0 h 3"/>
                <a:gd name="T10" fmla="*/ 0 w 3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61" name="Freeform 227">
              <a:extLst>
                <a:ext uri="{FF2B5EF4-FFF2-40B4-BE49-F238E27FC236}">
                  <a16:creationId xmlns:a16="http://schemas.microsoft.com/office/drawing/2014/main" id="{DBE1EA5B-54AB-44FE-9872-0FE02EEC4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000" y="5594351"/>
              <a:ext cx="4763" cy="3175"/>
            </a:xfrm>
            <a:custGeom>
              <a:avLst/>
              <a:gdLst>
                <a:gd name="T0" fmla="*/ 0 w 9"/>
                <a:gd name="T1" fmla="*/ 0 h 6"/>
                <a:gd name="T2" fmla="*/ 0 w 9"/>
                <a:gd name="T3" fmla="*/ 0 h 6"/>
                <a:gd name="T4" fmla="*/ 9 w 9"/>
                <a:gd name="T5" fmla="*/ 6 h 6"/>
                <a:gd name="T6" fmla="*/ 9 w 9"/>
                <a:gd name="T7" fmla="*/ 6 h 6"/>
                <a:gd name="T8" fmla="*/ 0 w 9"/>
                <a:gd name="T9" fmla="*/ 0 h 6"/>
                <a:gd name="T10" fmla="*/ 0 w 9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6">
                  <a:moveTo>
                    <a:pt x="0" y="0"/>
                  </a:moveTo>
                  <a:lnTo>
                    <a:pt x="0" y="0"/>
                  </a:lnTo>
                  <a:lnTo>
                    <a:pt x="9" y="6"/>
                  </a:lnTo>
                  <a:lnTo>
                    <a:pt x="9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  <p:sp>
          <p:nvSpPr>
            <p:cNvPr id="62" name="Freeform 228">
              <a:extLst>
                <a:ext uri="{FF2B5EF4-FFF2-40B4-BE49-F238E27FC236}">
                  <a16:creationId xmlns:a16="http://schemas.microsoft.com/office/drawing/2014/main" id="{FA20E7A9-CAAA-4F8A-B606-E5BD8BDB1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9638" y="5403851"/>
              <a:ext cx="290513" cy="195263"/>
            </a:xfrm>
            <a:custGeom>
              <a:avLst/>
              <a:gdLst>
                <a:gd name="T0" fmla="*/ 22 w 549"/>
                <a:gd name="T1" fmla="*/ 226 h 371"/>
                <a:gd name="T2" fmla="*/ 12 w 549"/>
                <a:gd name="T3" fmla="*/ 217 h 371"/>
                <a:gd name="T4" fmla="*/ 2 w 549"/>
                <a:gd name="T5" fmla="*/ 197 h 371"/>
                <a:gd name="T6" fmla="*/ 2 w 549"/>
                <a:gd name="T7" fmla="*/ 174 h 371"/>
                <a:gd name="T8" fmla="*/ 12 w 549"/>
                <a:gd name="T9" fmla="*/ 154 h 371"/>
                <a:gd name="T10" fmla="*/ 198 w 549"/>
                <a:gd name="T11" fmla="*/ 14 h 371"/>
                <a:gd name="T12" fmla="*/ 210 w 549"/>
                <a:gd name="T13" fmla="*/ 7 h 371"/>
                <a:gd name="T14" fmla="*/ 235 w 549"/>
                <a:gd name="T15" fmla="*/ 1 h 371"/>
                <a:gd name="T16" fmla="*/ 260 w 549"/>
                <a:gd name="T17" fmla="*/ 1 h 371"/>
                <a:gd name="T18" fmla="*/ 286 w 549"/>
                <a:gd name="T19" fmla="*/ 10 h 371"/>
                <a:gd name="T20" fmla="*/ 296 w 549"/>
                <a:gd name="T21" fmla="*/ 17 h 371"/>
                <a:gd name="T22" fmla="*/ 310 w 549"/>
                <a:gd name="T23" fmla="*/ 36 h 371"/>
                <a:gd name="T24" fmla="*/ 313 w 549"/>
                <a:gd name="T25" fmla="*/ 57 h 371"/>
                <a:gd name="T26" fmla="*/ 307 w 549"/>
                <a:gd name="T27" fmla="*/ 78 h 371"/>
                <a:gd name="T28" fmla="*/ 292 w 549"/>
                <a:gd name="T29" fmla="*/ 96 h 371"/>
                <a:gd name="T30" fmla="*/ 480 w 549"/>
                <a:gd name="T31" fmla="*/ 131 h 371"/>
                <a:gd name="T32" fmla="*/ 494 w 549"/>
                <a:gd name="T33" fmla="*/ 131 h 371"/>
                <a:gd name="T34" fmla="*/ 518 w 549"/>
                <a:gd name="T35" fmla="*/ 140 h 371"/>
                <a:gd name="T36" fmla="*/ 537 w 549"/>
                <a:gd name="T37" fmla="*/ 155 h 371"/>
                <a:gd name="T38" fmla="*/ 547 w 549"/>
                <a:gd name="T39" fmla="*/ 175 h 371"/>
                <a:gd name="T40" fmla="*/ 549 w 549"/>
                <a:gd name="T41" fmla="*/ 185 h 371"/>
                <a:gd name="T42" fmla="*/ 543 w 549"/>
                <a:gd name="T43" fmla="*/ 207 h 371"/>
                <a:gd name="T44" fmla="*/ 529 w 549"/>
                <a:gd name="T45" fmla="*/ 224 h 371"/>
                <a:gd name="T46" fmla="*/ 506 w 549"/>
                <a:gd name="T47" fmla="*/ 237 h 371"/>
                <a:gd name="T48" fmla="*/ 480 w 549"/>
                <a:gd name="T49" fmla="*/ 241 h 371"/>
                <a:gd name="T50" fmla="*/ 292 w 549"/>
                <a:gd name="T51" fmla="*/ 276 h 371"/>
                <a:gd name="T52" fmla="*/ 301 w 549"/>
                <a:gd name="T53" fmla="*/ 284 h 371"/>
                <a:gd name="T54" fmla="*/ 312 w 549"/>
                <a:gd name="T55" fmla="*/ 304 h 371"/>
                <a:gd name="T56" fmla="*/ 312 w 549"/>
                <a:gd name="T57" fmla="*/ 325 h 371"/>
                <a:gd name="T58" fmla="*/ 303 w 549"/>
                <a:gd name="T59" fmla="*/ 346 h 371"/>
                <a:gd name="T60" fmla="*/ 296 w 549"/>
                <a:gd name="T61" fmla="*/ 355 h 371"/>
                <a:gd name="T62" fmla="*/ 273 w 549"/>
                <a:gd name="T63" fmla="*/ 367 h 371"/>
                <a:gd name="T64" fmla="*/ 248 w 549"/>
                <a:gd name="T65" fmla="*/ 371 h 371"/>
                <a:gd name="T66" fmla="*/ 221 w 549"/>
                <a:gd name="T67" fmla="*/ 368 h 371"/>
                <a:gd name="T68" fmla="*/ 198 w 549"/>
                <a:gd name="T69" fmla="*/ 357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9" h="371">
                  <a:moveTo>
                    <a:pt x="198" y="357"/>
                  </a:moveTo>
                  <a:lnTo>
                    <a:pt x="22" y="226"/>
                  </a:lnTo>
                  <a:lnTo>
                    <a:pt x="22" y="226"/>
                  </a:lnTo>
                  <a:lnTo>
                    <a:pt x="12" y="217"/>
                  </a:lnTo>
                  <a:lnTo>
                    <a:pt x="5" y="208"/>
                  </a:lnTo>
                  <a:lnTo>
                    <a:pt x="2" y="197"/>
                  </a:lnTo>
                  <a:lnTo>
                    <a:pt x="0" y="185"/>
                  </a:lnTo>
                  <a:lnTo>
                    <a:pt x="2" y="174"/>
                  </a:lnTo>
                  <a:lnTo>
                    <a:pt x="5" y="164"/>
                  </a:lnTo>
                  <a:lnTo>
                    <a:pt x="12" y="154"/>
                  </a:lnTo>
                  <a:lnTo>
                    <a:pt x="22" y="145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210" y="7"/>
                  </a:lnTo>
                  <a:lnTo>
                    <a:pt x="221" y="4"/>
                  </a:lnTo>
                  <a:lnTo>
                    <a:pt x="235" y="1"/>
                  </a:lnTo>
                  <a:lnTo>
                    <a:pt x="248" y="0"/>
                  </a:lnTo>
                  <a:lnTo>
                    <a:pt x="260" y="1"/>
                  </a:lnTo>
                  <a:lnTo>
                    <a:pt x="273" y="5"/>
                  </a:lnTo>
                  <a:lnTo>
                    <a:pt x="286" y="10"/>
                  </a:lnTo>
                  <a:lnTo>
                    <a:pt x="296" y="17"/>
                  </a:lnTo>
                  <a:lnTo>
                    <a:pt x="296" y="17"/>
                  </a:lnTo>
                  <a:lnTo>
                    <a:pt x="303" y="26"/>
                  </a:lnTo>
                  <a:lnTo>
                    <a:pt x="310" y="36"/>
                  </a:lnTo>
                  <a:lnTo>
                    <a:pt x="312" y="46"/>
                  </a:lnTo>
                  <a:lnTo>
                    <a:pt x="313" y="57"/>
                  </a:lnTo>
                  <a:lnTo>
                    <a:pt x="312" y="68"/>
                  </a:lnTo>
                  <a:lnTo>
                    <a:pt x="307" y="78"/>
                  </a:lnTo>
                  <a:lnTo>
                    <a:pt x="301" y="87"/>
                  </a:lnTo>
                  <a:lnTo>
                    <a:pt x="292" y="96"/>
                  </a:lnTo>
                  <a:lnTo>
                    <a:pt x="244" y="131"/>
                  </a:lnTo>
                  <a:lnTo>
                    <a:pt x="480" y="131"/>
                  </a:lnTo>
                  <a:lnTo>
                    <a:pt x="480" y="131"/>
                  </a:lnTo>
                  <a:lnTo>
                    <a:pt x="494" y="131"/>
                  </a:lnTo>
                  <a:lnTo>
                    <a:pt x="506" y="135"/>
                  </a:lnTo>
                  <a:lnTo>
                    <a:pt x="518" y="140"/>
                  </a:lnTo>
                  <a:lnTo>
                    <a:pt x="529" y="146"/>
                  </a:lnTo>
                  <a:lnTo>
                    <a:pt x="537" y="155"/>
                  </a:lnTo>
                  <a:lnTo>
                    <a:pt x="543" y="164"/>
                  </a:lnTo>
                  <a:lnTo>
                    <a:pt x="547" y="175"/>
                  </a:lnTo>
                  <a:lnTo>
                    <a:pt x="549" y="185"/>
                  </a:lnTo>
                  <a:lnTo>
                    <a:pt x="549" y="185"/>
                  </a:lnTo>
                  <a:lnTo>
                    <a:pt x="547" y="197"/>
                  </a:lnTo>
                  <a:lnTo>
                    <a:pt x="543" y="207"/>
                  </a:lnTo>
                  <a:lnTo>
                    <a:pt x="537" y="217"/>
                  </a:lnTo>
                  <a:lnTo>
                    <a:pt x="529" y="224"/>
                  </a:lnTo>
                  <a:lnTo>
                    <a:pt x="518" y="231"/>
                  </a:lnTo>
                  <a:lnTo>
                    <a:pt x="506" y="237"/>
                  </a:lnTo>
                  <a:lnTo>
                    <a:pt x="494" y="240"/>
                  </a:lnTo>
                  <a:lnTo>
                    <a:pt x="480" y="241"/>
                  </a:lnTo>
                  <a:lnTo>
                    <a:pt x="244" y="241"/>
                  </a:lnTo>
                  <a:lnTo>
                    <a:pt x="292" y="276"/>
                  </a:lnTo>
                  <a:lnTo>
                    <a:pt x="292" y="276"/>
                  </a:lnTo>
                  <a:lnTo>
                    <a:pt x="301" y="284"/>
                  </a:lnTo>
                  <a:lnTo>
                    <a:pt x="307" y="294"/>
                  </a:lnTo>
                  <a:lnTo>
                    <a:pt x="312" y="304"/>
                  </a:lnTo>
                  <a:lnTo>
                    <a:pt x="313" y="314"/>
                  </a:lnTo>
                  <a:lnTo>
                    <a:pt x="312" y="325"/>
                  </a:lnTo>
                  <a:lnTo>
                    <a:pt x="310" y="336"/>
                  </a:lnTo>
                  <a:lnTo>
                    <a:pt x="303" y="346"/>
                  </a:lnTo>
                  <a:lnTo>
                    <a:pt x="296" y="355"/>
                  </a:lnTo>
                  <a:lnTo>
                    <a:pt x="296" y="355"/>
                  </a:lnTo>
                  <a:lnTo>
                    <a:pt x="286" y="361"/>
                  </a:lnTo>
                  <a:lnTo>
                    <a:pt x="273" y="367"/>
                  </a:lnTo>
                  <a:lnTo>
                    <a:pt x="260" y="370"/>
                  </a:lnTo>
                  <a:lnTo>
                    <a:pt x="248" y="371"/>
                  </a:lnTo>
                  <a:lnTo>
                    <a:pt x="235" y="371"/>
                  </a:lnTo>
                  <a:lnTo>
                    <a:pt x="221" y="368"/>
                  </a:lnTo>
                  <a:lnTo>
                    <a:pt x="210" y="363"/>
                  </a:lnTo>
                  <a:lnTo>
                    <a:pt x="198" y="357"/>
                  </a:lnTo>
                  <a:lnTo>
                    <a:pt x="198" y="35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/>
                <a:ea typeface="+mn-ea"/>
                <a:cs typeface="+mn-cs"/>
              </a:endParaRPr>
            </a:p>
          </p:txBody>
        </p:sp>
      </p:grpSp>
      <p:sp>
        <p:nvSpPr>
          <p:cNvPr id="64" name="Line 55" descr="© INSCALE GmbH, 26.05.2010 http://www.presentationload.com/">
            <a:extLst>
              <a:ext uri="{FF2B5EF4-FFF2-40B4-BE49-F238E27FC236}">
                <a16:creationId xmlns:a16="http://schemas.microsoft.com/office/drawing/2014/main" id="{EFDE3C35-4E3E-4134-86D8-F0761D81DBB1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832440" y="2360962"/>
            <a:ext cx="3367" cy="62900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/>
              <a:ea typeface="+mn-ea"/>
              <a:cs typeface="Calibri" pitchFamily="34" charset="0"/>
            </a:endParaRPr>
          </a:p>
        </p:txBody>
      </p:sp>
      <p:sp>
        <p:nvSpPr>
          <p:cNvPr id="65" name="Gleichschenkliges Dreieck 64">
            <a:extLst>
              <a:ext uri="{FF2B5EF4-FFF2-40B4-BE49-F238E27FC236}">
                <a16:creationId xmlns:a16="http://schemas.microsoft.com/office/drawing/2014/main" id="{C5B55307-D138-47F5-B9AD-7295AECF00A4}"/>
              </a:ext>
            </a:extLst>
          </p:cNvPr>
          <p:cNvSpPr/>
          <p:nvPr/>
        </p:nvSpPr>
        <p:spPr bwMode="auto">
          <a:xfrm>
            <a:off x="776194" y="2924944"/>
            <a:ext cx="114283" cy="96921"/>
          </a:xfrm>
          <a:prstGeom prst="triangle">
            <a:avLst/>
          </a:pr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/>
              <a:ea typeface="+mn-ea"/>
              <a:cs typeface="+mn-cs"/>
            </a:endParaRP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F5F1892D-685E-43BB-8B52-BCDB124015C3}"/>
              </a:ext>
            </a:extLst>
          </p:cNvPr>
          <p:cNvSpPr txBox="1"/>
          <p:nvPr/>
        </p:nvSpPr>
        <p:spPr>
          <a:xfrm>
            <a:off x="702147" y="1997155"/>
            <a:ext cx="1224136" cy="492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85000"/>
              <a:buFontTx/>
              <a:buNone/>
              <a:tabLst/>
              <a:defRPr/>
            </a:pPr>
            <a:r>
              <a:rPr kumimoji="0" lang="cs-CZ" sz="800" b="1" spc="0" normalizeH="0" noProof="0">
                <a:ln>
                  <a:noFill/>
                </a:ln>
                <a:solidFill>
                  <a:srgbClr val="004BB4"/>
                </a:solidFill>
                <a:effectLst/>
                <a:uLnTx/>
                <a:uFillTx/>
                <a:latin typeface="DB Sans"/>
                <a:sym typeface="DB Sans"/>
              </a:rPr>
              <a:t>Dialog s občany (paralelně s vysvětlováním podkladů v obcích)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4BB4"/>
              </a:solidFill>
              <a:effectLst/>
              <a:uLnTx/>
              <a:uFillTx/>
              <a:latin typeface="DB Sans" panose="020B0502050202020204" pitchFamily="34" charset="0"/>
              <a:ea typeface="+mn-ea"/>
              <a:cs typeface="+mn-cs"/>
            </a:endParaRPr>
          </a:p>
        </p:txBody>
      </p:sp>
      <p:sp>
        <p:nvSpPr>
          <p:cNvPr id="79" name="Fußzeilenplatzhalter 5">
            <a:extLst>
              <a:ext uri="{FF2B5EF4-FFF2-40B4-BE49-F238E27FC236}">
                <a16:creationId xmlns:a16="http://schemas.microsoft.com/office/drawing/2014/main" id="{BE9A7602-69A7-4293-96C3-2D527F241B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kern="1200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B Netz AG | Kay Müller | Informace k HSL v Česku| 28.11.2019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F99FE6D4-D519-496D-A9AC-11BF8984559A}"/>
              </a:ext>
            </a:extLst>
          </p:cNvPr>
          <p:cNvSpPr txBox="1"/>
          <p:nvPr/>
        </p:nvSpPr>
        <p:spPr>
          <a:xfrm>
            <a:off x="832440" y="3713125"/>
            <a:ext cx="94441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85000"/>
              <a:buFontTx/>
              <a:buNone/>
              <a:tabLst/>
              <a:defRPr/>
            </a:pPr>
            <a:r>
              <a:rPr kumimoji="0" lang="cs-CZ" sz="900" b="1" spc="0" normalizeH="0" noProof="0">
                <a:ln>
                  <a:noFill/>
                </a:ln>
                <a:solidFill>
                  <a:srgbClr val="00AA00"/>
                </a:solidFill>
                <a:effectLst/>
                <a:uLnTx/>
                <a:uFillTx/>
              </a:rPr>
              <a:t>Podpis projektové smlouvy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AA00"/>
              </a:solidFill>
              <a:effectLst/>
              <a:uLnTx/>
              <a:uFillTx/>
              <a:latin typeface="DB Office"/>
              <a:ea typeface="+mn-ea"/>
              <a:cs typeface="+mn-cs"/>
            </a:endParaRPr>
          </a:p>
        </p:txBody>
      </p:sp>
      <p:sp>
        <p:nvSpPr>
          <p:cNvPr id="83" name="Line 55" descr="© INSCALE GmbH, 26.05.2010 http://www.presentationload.com/">
            <a:extLst>
              <a:ext uri="{FF2B5EF4-FFF2-40B4-BE49-F238E27FC236}">
                <a16:creationId xmlns:a16="http://schemas.microsoft.com/office/drawing/2014/main" id="{DC2BE03B-7CD4-4A86-8824-680EEEF1FF32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760622" y="3641831"/>
            <a:ext cx="3367" cy="62900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/>
              <a:ea typeface="+mn-ea"/>
              <a:cs typeface="Calibri" pitchFamily="34" charset="0"/>
            </a:endParaRP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822AB91D-F18C-467C-BC9C-83F10F7239A4}"/>
              </a:ext>
            </a:extLst>
          </p:cNvPr>
          <p:cNvSpPr txBox="1"/>
          <p:nvPr/>
        </p:nvSpPr>
        <p:spPr>
          <a:xfrm>
            <a:off x="2025344" y="3726877"/>
            <a:ext cx="1217727" cy="4154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85000"/>
              <a:buFontTx/>
              <a:buNone/>
              <a:tabLst/>
              <a:defRPr/>
            </a:pPr>
            <a:r>
              <a:rPr kumimoji="0" lang="cs-CZ" sz="900" b="1" spc="0" normalizeH="0" noProof="0">
                <a:ln>
                  <a:noFill/>
                </a:ln>
                <a:solidFill>
                  <a:srgbClr val="286E46"/>
                </a:solidFill>
                <a:effectLst/>
                <a:uLnTx/>
                <a:uFillTx/>
              </a:rPr>
              <a:t>Zahájení společného výběrového řízení</a:t>
            </a:r>
          </a:p>
        </p:txBody>
      </p:sp>
      <p:sp>
        <p:nvSpPr>
          <p:cNvPr id="85" name="Line 55" descr="© INSCALE GmbH, 26.05.2010 http://www.presentationload.com/">
            <a:extLst>
              <a:ext uri="{FF2B5EF4-FFF2-40B4-BE49-F238E27FC236}">
                <a16:creationId xmlns:a16="http://schemas.microsoft.com/office/drawing/2014/main" id="{CCFFC664-1BAF-4080-8E68-B1748DA6948B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1889375" y="3623170"/>
            <a:ext cx="3367" cy="62900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/>
              <a:ea typeface="+mn-ea"/>
              <a:cs typeface="Calibri" pitchFamily="34" charset="0"/>
            </a:endParaRPr>
          </a:p>
        </p:txBody>
      </p:sp>
      <p:sp>
        <p:nvSpPr>
          <p:cNvPr id="89" name="Line 55" descr="© INSCALE GmbH, 26.05.2010 http://www.presentationload.com/">
            <a:extLst>
              <a:ext uri="{FF2B5EF4-FFF2-40B4-BE49-F238E27FC236}">
                <a16:creationId xmlns:a16="http://schemas.microsoft.com/office/drawing/2014/main" id="{3F335A20-3DEC-49CC-8978-F5947A1990A3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5170025" y="3428444"/>
            <a:ext cx="3366" cy="2088651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/>
              <a:ea typeface="+mn-ea"/>
              <a:cs typeface="Calibri" pitchFamily="34" charset="0"/>
            </a:endParaRPr>
          </a:p>
        </p:txBody>
      </p:sp>
      <p:sp>
        <p:nvSpPr>
          <p:cNvPr id="90" name="Foliennummernplatzhalter 4">
            <a:extLst>
              <a:ext uri="{FF2B5EF4-FFF2-40B4-BE49-F238E27FC236}">
                <a16:creationId xmlns:a16="http://schemas.microsoft.com/office/drawing/2014/main" id="{72E950D3-C347-40F4-9A62-02107C2A9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798A07C7-D735-4B2E-ADA5-AE35FF5852AD}" type="slidenum">
              <a:rPr lang="de-DE" altLang="de-DE" smtClean="0"/>
              <a:pPr>
                <a:defRPr/>
              </a:pPr>
              <a:t>13</a:t>
            </a:fld>
            <a:endParaRPr lang="de-DE" altLang="de-DE" sz="900" dirty="0"/>
          </a:p>
        </p:txBody>
      </p:sp>
      <p:sp>
        <p:nvSpPr>
          <p:cNvPr id="80" name="Line 55" descr="© INSCALE GmbH, 26.05.2010 http://www.presentationload.com/">
            <a:extLst>
              <a:ext uri="{FF2B5EF4-FFF2-40B4-BE49-F238E27FC236}">
                <a16:creationId xmlns:a16="http://schemas.microsoft.com/office/drawing/2014/main" id="{C7CBD23A-952E-4379-93EE-798699550CD8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2873014" y="1674215"/>
            <a:ext cx="10334" cy="134313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/>
              <a:ea typeface="+mn-ea"/>
              <a:cs typeface="Calibri" pitchFamily="34" charset="0"/>
            </a:endParaRPr>
          </a:p>
        </p:txBody>
      </p:sp>
      <p:sp>
        <p:nvSpPr>
          <p:cNvPr id="82" name="Gleichschenkliges Dreieck 81">
            <a:extLst>
              <a:ext uri="{FF2B5EF4-FFF2-40B4-BE49-F238E27FC236}">
                <a16:creationId xmlns:a16="http://schemas.microsoft.com/office/drawing/2014/main" id="{C0D7A671-BEE5-43AB-95E5-0F21CF5E66CA}"/>
              </a:ext>
            </a:extLst>
          </p:cNvPr>
          <p:cNvSpPr/>
          <p:nvPr/>
        </p:nvSpPr>
        <p:spPr bwMode="auto">
          <a:xfrm>
            <a:off x="2821796" y="2919847"/>
            <a:ext cx="114283" cy="96922"/>
          </a:xfrm>
          <a:prstGeom prst="triangle">
            <a:avLst/>
          </a:prstGeom>
          <a:solidFill>
            <a:schemeClr val="bg2"/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/>
              <a:ea typeface="+mn-ea"/>
              <a:cs typeface="+mn-cs"/>
            </a:endParaRPr>
          </a:p>
        </p:txBody>
      </p:sp>
      <p:sp>
        <p:nvSpPr>
          <p:cNvPr id="91" name="Textfeld 90">
            <a:extLst>
              <a:ext uri="{FF2B5EF4-FFF2-40B4-BE49-F238E27FC236}">
                <a16:creationId xmlns:a16="http://schemas.microsoft.com/office/drawing/2014/main" id="{CE1E76BB-9289-47BE-B908-D4C78C0CF057}"/>
              </a:ext>
            </a:extLst>
          </p:cNvPr>
          <p:cNvSpPr txBox="1"/>
          <p:nvPr/>
        </p:nvSpPr>
        <p:spPr>
          <a:xfrm>
            <a:off x="2544909" y="1152141"/>
            <a:ext cx="1025544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spcBef>
                <a:spcPts val="600"/>
              </a:spcBef>
              <a:buClr>
                <a:srgbClr val="FF0000"/>
              </a:buClr>
              <a:buSzPct val="85000"/>
              <a:defRPr sz="800" b="1">
                <a:solidFill>
                  <a:srgbClr val="F0CD0A"/>
                </a:solidFill>
                <a:latin typeface="DB Sans" panose="020B050205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85000"/>
              <a:buFontTx/>
              <a:buNone/>
              <a:tabLst/>
              <a:defRPr/>
            </a:pPr>
            <a:r>
              <a:rPr kumimoji="0" lang="cs-CZ" spc="0" normalizeH="0" noProof="0">
                <a:ln>
                  <a:noFill/>
                </a:ln>
                <a:solidFill>
                  <a:srgbClr val="8C5A00"/>
                </a:solidFill>
                <a:effectLst/>
                <a:uLnTx/>
                <a:uFillTx/>
              </a:rPr>
              <a:t>Projížďka po trati s MdB/MdL, starosty a zemskými rady</a:t>
            </a:r>
          </a:p>
        </p:txBody>
      </p:sp>
      <p:pic>
        <p:nvPicPr>
          <p:cNvPr id="4" name="Grafik 3" descr="Bus">
            <a:extLst>
              <a:ext uri="{FF2B5EF4-FFF2-40B4-BE49-F238E27FC236}">
                <a16:creationId xmlns:a16="http://schemas.microsoft.com/office/drawing/2014/main" id="{DD9D4853-94EE-43F0-BD09-AACBC567219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83563" y="1129190"/>
            <a:ext cx="227454" cy="22745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921665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5695D50-EF53-435B-9B8A-CD79FEE174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8619" y="764704"/>
            <a:ext cx="9504000" cy="863600"/>
          </a:xfrm>
        </p:spPr>
        <p:txBody>
          <a:bodyPr/>
          <a:lstStyle/>
          <a:p>
            <a:r>
              <a:rPr lang="cs-CZ"/>
              <a:t>Dotazy k projektu?</a:t>
            </a:r>
          </a:p>
          <a:p>
            <a:endParaRPr lang="de-DE" dirty="0"/>
          </a:p>
          <a:p>
            <a:br>
              <a:rPr lang="cs-CZ" b="0"/>
            </a:b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EAC2EAF-8F78-468D-A99A-9D8752CE79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0907" y="1376552"/>
            <a:ext cx="4518570" cy="2541696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8B808C8D-B4D0-4C5F-B0B3-4E569D6E6BC2}"/>
              </a:ext>
            </a:extLst>
          </p:cNvPr>
          <p:cNvSpPr/>
          <p:nvPr/>
        </p:nvSpPr>
        <p:spPr>
          <a:xfrm>
            <a:off x="2718371" y="3918248"/>
            <a:ext cx="747089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kern="0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B AG / VectorVision GbR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CC14C1C-C7DA-4A3E-A353-3E23BC3AC127}"/>
              </a:ext>
            </a:extLst>
          </p:cNvPr>
          <p:cNvSpPr txBox="1"/>
          <p:nvPr/>
        </p:nvSpPr>
        <p:spPr>
          <a:xfrm>
            <a:off x="126084" y="4437112"/>
            <a:ext cx="4752528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polečnost DB Netz AG můžete kontaktovat </a:t>
            </a:r>
            <a:endParaRPr kumimoji="0" lang="de-DE" sz="18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-mailem n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resden-prag@deutschebahn.com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 online na </a:t>
            </a:r>
            <a:r>
              <a:rPr kumimoji="0" lang="cs-CZ" sz="1800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hlinkClick r:id="rId4"/>
              </a:rPr>
              <a:t>https://bauprojekte.deutschebahn.com/p/dresden-prag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88E0A25-889E-4C5E-9E9F-3DE0B0221131}"/>
              </a:ext>
            </a:extLst>
          </p:cNvPr>
          <p:cNvSpPr txBox="1"/>
          <p:nvPr/>
        </p:nvSpPr>
        <p:spPr>
          <a:xfrm>
            <a:off x="5334312" y="4422365"/>
            <a:ext cx="455092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polečnost SŽDC můžete kontaktovat e-mailem n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u="sng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vrt@szdc.cz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11986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Nový úsek tratě Drážďany – Praha</a:t>
            </a:r>
            <a:br>
              <a:rPr lang="cs-CZ"/>
            </a:br>
            <a:r>
              <a:rPr lang="cs-CZ"/>
              <a:t>Agenda</a:t>
            </a:r>
            <a:endParaRPr lang="de-DE" dirty="0"/>
          </a:p>
        </p:txBody>
      </p:sp>
      <p:sp>
        <p:nvSpPr>
          <p:cNvPr id="5" name="Rechteck 4"/>
          <p:cNvSpPr/>
          <p:nvPr>
            <p:custDataLst>
              <p:tags r:id="rId2"/>
            </p:custDataLst>
          </p:nvPr>
        </p:nvSpPr>
        <p:spPr bwMode="auto">
          <a:xfrm>
            <a:off x="0" y="1414486"/>
            <a:ext cx="9901238" cy="5040314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C1154BA-EF19-4E9F-B370-8E74733859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cs-CZ"/>
              <a:t>DB Netz AG | Kay Müller | Informace k HSL v Česku| 28.11.2019</a:t>
            </a:r>
          </a:p>
        </p:txBody>
      </p:sp>
      <p:grpSp>
        <p:nvGrpSpPr>
          <p:cNvPr id="11" name="easyAgenda">
            <a:extLst>
              <a:ext uri="{FF2B5EF4-FFF2-40B4-BE49-F238E27FC236}">
                <a16:creationId xmlns:a16="http://schemas.microsoft.com/office/drawing/2014/main" id="{04436888-2B79-4E08-9DDF-2E8AD5495D09}"/>
              </a:ext>
            </a:extLst>
          </p:cNvPr>
          <p:cNvGrpSpPr/>
          <p:nvPr/>
        </p:nvGrpSpPr>
        <p:grpSpPr>
          <a:xfrm>
            <a:off x="1352600" y="2601048"/>
            <a:ext cx="7776864" cy="2520000"/>
            <a:chOff x="1352600" y="1988840"/>
            <a:chExt cx="7776864" cy="2520000"/>
          </a:xfrm>
        </p:grpSpPr>
        <p:sp>
          <p:nvSpPr>
            <p:cNvPr id="9" name="0_Inhalt_Ebene1_Highlight"/>
            <p:cNvSpPr txBox="1"/>
            <p:nvPr>
              <p:custDataLst>
                <p:tags r:id="rId3"/>
              </p:custDataLst>
            </p:nvPr>
          </p:nvSpPr>
          <p:spPr>
            <a:xfrm>
              <a:off x="2000672" y="1988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accent2"/>
                  </a:solidFill>
                </a:rPr>
                <a:t>Charakteristika a potenciál</a:t>
              </a:r>
              <a:endParaRPr lang="de-DE" b="1" dirty="0">
                <a:solidFill>
                  <a:schemeClr val="accent2"/>
                </a:solidFill>
                <a:latin typeface="DB Office"/>
              </a:endParaRPr>
            </a:p>
          </p:txBody>
        </p:sp>
        <p:sp>
          <p:nvSpPr>
            <p:cNvPr id="10" name="0_Nummer_Ebene1_Highlight"/>
            <p:cNvSpPr txBox="1"/>
            <p:nvPr>
              <p:custDataLst>
                <p:tags r:id="rId4"/>
              </p:custDataLst>
            </p:nvPr>
          </p:nvSpPr>
          <p:spPr>
            <a:xfrm>
              <a:off x="1352600" y="1988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accent2"/>
                  </a:solidFill>
                </a:rPr>
                <a:t>1</a:t>
              </a:r>
              <a:endParaRPr lang="de-DE" sz="2800" b="1" dirty="0">
                <a:solidFill>
                  <a:schemeClr val="accent2"/>
                </a:solidFill>
                <a:latin typeface="DB Office"/>
              </a:endParaRPr>
            </a:p>
          </p:txBody>
        </p:sp>
        <p:sp>
          <p:nvSpPr>
            <p:cNvPr id="25" name="0_Seiten_Ebene1_Highlight"/>
            <p:cNvSpPr txBox="1"/>
            <p:nvPr>
              <p:custDataLst>
                <p:tags r:id="rId5"/>
              </p:custDataLst>
            </p:nvPr>
          </p:nvSpPr>
          <p:spPr>
            <a:xfrm>
              <a:off x="8553400" y="1988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accent2"/>
                </a:solidFill>
                <a:latin typeface="DB Office"/>
              </a:endParaRPr>
            </a:p>
          </p:txBody>
        </p:sp>
        <p:cxnSp>
          <p:nvCxnSpPr>
            <p:cNvPr id="19" name="0_elemnt_Ebene1_Highlight">
              <a:extLst>
                <a:ext uri="{FF2B5EF4-FFF2-40B4-BE49-F238E27FC236}">
                  <a16:creationId xmlns:a16="http://schemas.microsoft.com/office/drawing/2014/main" id="{61BFCF9E-0E6A-4FDA-A360-B3C9FD7552B9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>
            <a:xfrm>
              <a:off x="2000224" y="2492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rgbClr val="FF0000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1_Inhalt_Ebene1">
              <a:extLst>
                <a:ext uri="{FF2B5EF4-FFF2-40B4-BE49-F238E27FC236}">
                  <a16:creationId xmlns:a16="http://schemas.microsoft.com/office/drawing/2014/main" id="{BF3A8EB0-813D-4F84-9206-F916F16E5759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2000672" y="2636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bg2"/>
                  </a:solidFill>
                </a:rPr>
                <a:t>Územní řízení</a:t>
              </a: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2" name="2_Inhalt_Ebene1">
              <a:extLst>
                <a:ext uri="{FF2B5EF4-FFF2-40B4-BE49-F238E27FC236}">
                  <a16:creationId xmlns:a16="http://schemas.microsoft.com/office/drawing/2014/main" id="{69F33B57-63D5-4376-B8BB-BFA19C894DCA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2000672" y="3284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bg2"/>
                  </a:solidFill>
                </a:rPr>
                <a:t>Stav plánování</a:t>
              </a: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3" name="3_Inhalt_Ebene1">
              <a:extLst>
                <a:ext uri="{FF2B5EF4-FFF2-40B4-BE49-F238E27FC236}">
                  <a16:creationId xmlns:a16="http://schemas.microsoft.com/office/drawing/2014/main" id="{36754A30-A00C-4540-AD3C-233817420839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2000672" y="3932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bg2"/>
                  </a:solidFill>
                </a:rPr>
                <a:t>Výhled</a:t>
              </a: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7" name="1_Nummer_Ebene1">
              <a:extLst>
                <a:ext uri="{FF2B5EF4-FFF2-40B4-BE49-F238E27FC236}">
                  <a16:creationId xmlns:a16="http://schemas.microsoft.com/office/drawing/2014/main" id="{521CD184-E69B-494E-A4B4-9A8F59E9B25A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1352600" y="2636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bg2"/>
                  </a:solidFill>
                </a:rPr>
                <a:t>2</a:t>
              </a:r>
              <a:endParaRPr lang="de-DE" sz="2800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8" name="2_Nummer_Ebene1">
              <a:extLst>
                <a:ext uri="{FF2B5EF4-FFF2-40B4-BE49-F238E27FC236}">
                  <a16:creationId xmlns:a16="http://schemas.microsoft.com/office/drawing/2014/main" id="{A37F78AA-1483-4A1D-BB38-200C0B1ABFE9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1352600" y="3284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bg2"/>
                  </a:solidFill>
                </a:rPr>
                <a:t>3</a:t>
              </a:r>
              <a:endParaRPr lang="de-DE" sz="2800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9" name="3_Nummer_Ebene1">
              <a:extLst>
                <a:ext uri="{FF2B5EF4-FFF2-40B4-BE49-F238E27FC236}">
                  <a16:creationId xmlns:a16="http://schemas.microsoft.com/office/drawing/2014/main" id="{F91831D5-B886-4282-8181-5CA607C09652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1352600" y="3932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bg2"/>
                  </a:solidFill>
                </a:rPr>
                <a:t>4</a:t>
              </a:r>
              <a:endParaRPr lang="de-DE" sz="2800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40" name="1_Seiten_Ebene1">
              <a:extLst>
                <a:ext uri="{FF2B5EF4-FFF2-40B4-BE49-F238E27FC236}">
                  <a16:creationId xmlns:a16="http://schemas.microsoft.com/office/drawing/2014/main" id="{630035D3-552E-449C-B500-325CB3DB8A91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8553400" y="2636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41" name="2_Seiten_Ebene1">
              <a:extLst>
                <a:ext uri="{FF2B5EF4-FFF2-40B4-BE49-F238E27FC236}">
                  <a16:creationId xmlns:a16="http://schemas.microsoft.com/office/drawing/2014/main" id="{BD64678D-975E-4536-92E1-A0F1FF5F685A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8553400" y="3284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42" name="3_Seiten_Ebene1">
              <a:extLst>
                <a:ext uri="{FF2B5EF4-FFF2-40B4-BE49-F238E27FC236}">
                  <a16:creationId xmlns:a16="http://schemas.microsoft.com/office/drawing/2014/main" id="{24C12CEC-770B-4EB7-B74F-247C49D8FEDB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8553400" y="3932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cxnSp>
          <p:nvCxnSpPr>
            <p:cNvPr id="46" name="1_elemnt_Ebene1">
              <a:extLst>
                <a:ext uri="{FF2B5EF4-FFF2-40B4-BE49-F238E27FC236}">
                  <a16:creationId xmlns:a16="http://schemas.microsoft.com/office/drawing/2014/main" id="{0D2A30DA-9292-4AC0-B6C3-7056A76995EC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>
            <a:xfrm>
              <a:off x="2000314" y="3140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2_elemnt_Ebene1">
              <a:extLst>
                <a:ext uri="{FF2B5EF4-FFF2-40B4-BE49-F238E27FC236}">
                  <a16:creationId xmlns:a16="http://schemas.microsoft.com/office/drawing/2014/main" id="{599212E3-1854-4247-8E14-86B8ABFFFCCB}"/>
                </a:ext>
              </a:extLst>
            </p:cNvPr>
            <p:cNvCxnSpPr/>
            <p:nvPr>
              <p:custDataLst>
                <p:tags r:id="rId17"/>
              </p:custDataLst>
            </p:nvPr>
          </p:nvCxnSpPr>
          <p:spPr>
            <a:xfrm>
              <a:off x="2000314" y="3788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3_elemnt_Ebene1">
              <a:extLst>
                <a:ext uri="{FF2B5EF4-FFF2-40B4-BE49-F238E27FC236}">
                  <a16:creationId xmlns:a16="http://schemas.microsoft.com/office/drawing/2014/main" id="{45FF605F-9EA1-426D-B086-E3ECB8B88EBA}"/>
                </a:ext>
              </a:extLst>
            </p:cNvPr>
            <p:cNvCxnSpPr/>
            <p:nvPr>
              <p:custDataLst>
                <p:tags r:id="rId18"/>
              </p:custDataLst>
            </p:nvPr>
          </p:nvCxnSpPr>
          <p:spPr>
            <a:xfrm>
              <a:off x="2000314" y="4436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825638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5920222" y="1700808"/>
            <a:ext cx="3782925" cy="446449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CDCDCD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5905502" y="1700808"/>
            <a:ext cx="3995736" cy="4791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>
              <a:spcAft>
                <a:spcPts val="800"/>
              </a:spcAft>
              <a:buClr>
                <a:srgbClr val="FF0000"/>
              </a:buClr>
              <a:buBlip>
                <a:blip r:embed="rId3"/>
              </a:buBlip>
            </a:pPr>
            <a:r>
              <a:rPr lang="cs-CZ"/>
              <a:t>Vybudování koridoru mezi Drážďany a Budapeští jako část koridoru TEN-V Orient/Východo-středomořský</a:t>
            </a:r>
          </a:p>
          <a:p>
            <a:pPr marL="285750" indent="-285750" algn="l">
              <a:spcAft>
                <a:spcPts val="800"/>
              </a:spcAft>
              <a:buClr>
                <a:srgbClr val="FF0000"/>
              </a:buClr>
              <a:buBlip>
                <a:blip r:embed="rId3"/>
              </a:buBlip>
            </a:pPr>
            <a:r>
              <a:rPr lang="cs-CZ"/>
              <a:t>Spojovací článek v mezinárodní železniční dopravě</a:t>
            </a:r>
          </a:p>
          <a:p>
            <a:pPr marL="285750" indent="-285750" algn="l">
              <a:spcAft>
                <a:spcPts val="800"/>
              </a:spcAft>
              <a:buClr>
                <a:srgbClr val="FF0000"/>
              </a:buClr>
              <a:buBlip>
                <a:blip r:embed="rId3"/>
              </a:buBlip>
            </a:pPr>
            <a:r>
              <a:rPr lang="cs-CZ"/>
              <a:t>Rozšíření a urychlení stávajícího železničního spojení mezi Drážďany a Prahou</a:t>
            </a:r>
          </a:p>
          <a:p>
            <a:pPr marL="285750" indent="-285750" algn="l">
              <a:spcAft>
                <a:spcPts val="800"/>
              </a:spcAft>
              <a:buClr>
                <a:srgbClr val="FF0000"/>
              </a:buClr>
              <a:buBlip>
                <a:blip r:embed="rId3"/>
              </a:buBlip>
            </a:pPr>
            <a:r>
              <a:rPr lang="cs-CZ"/>
              <a:t>Narůstající mezinárodní doprava na železničním koridoru         </a:t>
            </a:r>
            <a:r>
              <a:rPr lang="cs-CZ" b="1"/>
              <a:t>Berlín - Drážďany – Praha </a:t>
            </a:r>
          </a:p>
          <a:p>
            <a:pPr marL="285750" indent="-285750" algn="l">
              <a:spcAft>
                <a:spcPts val="800"/>
              </a:spcAft>
              <a:buClr>
                <a:srgbClr val="FF0000"/>
              </a:buClr>
              <a:buBlip>
                <a:blip r:embed="rId3"/>
              </a:buBlip>
            </a:pPr>
            <a:r>
              <a:rPr lang="cs-CZ"/>
              <a:t>Společný strategický cíl Německa, České republiky a společností DB AG a SŽDC</a:t>
            </a:r>
          </a:p>
          <a:p>
            <a:pPr marL="285750" indent="-285750" algn="l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 algn="l"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7" name="Picture 2" descr="D:\Users\jenniferfuchs\AppData\Local\Temp\wz55fd\SchematicA0_EUcorridor_map-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" t="31874" r="18936" b="16970"/>
          <a:stretch/>
        </p:blipFill>
        <p:spPr bwMode="auto">
          <a:xfrm>
            <a:off x="236872" y="1497133"/>
            <a:ext cx="5597380" cy="4994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llipse 7">
            <a:extLst>
              <a:ext uri="{FF2B5EF4-FFF2-40B4-BE49-F238E27FC236}">
                <a16:creationId xmlns:a16="http://schemas.microsoft.com/office/drawing/2014/main" id="{5DB46C5E-3CD4-4DB7-A2DC-51A91381B0F5}"/>
              </a:ext>
            </a:extLst>
          </p:cNvPr>
          <p:cNvSpPr/>
          <p:nvPr/>
        </p:nvSpPr>
        <p:spPr bwMode="auto">
          <a:xfrm rot="20076558">
            <a:off x="3424534" y="3140968"/>
            <a:ext cx="392771" cy="648072"/>
          </a:xfrm>
          <a:prstGeom prst="ellipse">
            <a:avLst/>
          </a:prstGeom>
          <a:noFill/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6ABA1923-84EA-484B-BFF7-8497B98AAA74}"/>
              </a:ext>
            </a:extLst>
          </p:cNvPr>
          <p:cNvSpPr/>
          <p:nvPr/>
        </p:nvSpPr>
        <p:spPr bwMode="auto">
          <a:xfrm rot="16200000">
            <a:off x="8364367" y="4407740"/>
            <a:ext cx="229313" cy="432073"/>
          </a:xfrm>
          <a:prstGeom prst="ellipse">
            <a:avLst/>
          </a:prstGeom>
          <a:noFill/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F8E9CFA5-5F32-4EA6-AAFA-D66257D46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000" y="403200"/>
            <a:ext cx="9504000" cy="792000"/>
          </a:xfrm>
        </p:spPr>
        <p:txBody>
          <a:bodyPr/>
          <a:lstStyle/>
          <a:p>
            <a:r>
              <a:rPr lang="cs-CZ" b="1"/>
              <a:t>Nový úsek tratě Drážďany – Praha</a:t>
            </a:r>
            <a:br>
              <a:rPr lang="cs-CZ"/>
            </a:br>
            <a:r>
              <a:rPr lang="cs-CZ"/>
              <a:t>Transevropská dopravní síť</a:t>
            </a:r>
            <a:endParaRPr lang="de-DE" dirty="0"/>
          </a:p>
        </p:txBody>
      </p:sp>
      <p:sp>
        <p:nvSpPr>
          <p:cNvPr id="13" name="Fußzeilenplatzhalter 7">
            <a:extLst>
              <a:ext uri="{FF2B5EF4-FFF2-40B4-BE49-F238E27FC236}">
                <a16:creationId xmlns:a16="http://schemas.microsoft.com/office/drawing/2014/main" id="{6ADE4B4D-A145-4211-9E85-25AE897414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r>
              <a:rPr lang="cs-CZ"/>
              <a:t>DB Netz AG | Kay Müller | Informace k HSL v Česku | 28.11.2019</a:t>
            </a:r>
          </a:p>
        </p:txBody>
      </p:sp>
      <p:sp>
        <p:nvSpPr>
          <p:cNvPr id="14" name="Foliennummernplatzhalter 4">
            <a:extLst>
              <a:ext uri="{FF2B5EF4-FFF2-40B4-BE49-F238E27FC236}">
                <a16:creationId xmlns:a16="http://schemas.microsoft.com/office/drawing/2014/main" id="{7635E2D7-8243-4F9D-8F3A-C025C597DA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798A07C7-D735-4B2E-ADA5-AE35FF5852AD}" type="slidenum">
              <a:rPr lang="de-DE" altLang="de-DE" smtClean="0"/>
              <a:pPr>
                <a:defRPr/>
              </a:pPr>
              <a:t>3</a:t>
            </a:fld>
            <a:endParaRPr lang="de-DE" altLang="de-DE" sz="900" dirty="0"/>
          </a:p>
        </p:txBody>
      </p:sp>
      <p:sp>
        <p:nvSpPr>
          <p:cNvPr id="11" name="ElementText1">
            <a:extLst>
              <a:ext uri="{FF2B5EF4-FFF2-40B4-BE49-F238E27FC236}">
                <a16:creationId xmlns:a16="http://schemas.microsoft.com/office/drawing/2014/main" id="{176B5BBA-E63B-44B8-BBF2-D4C627D191FE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236872" y="6498718"/>
            <a:ext cx="4738610" cy="93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cs-CZ" sz="900"/>
              <a:t>Zdroj: Spolkové ministerstvo dopravy a digitální infrastruktury</a:t>
            </a:r>
          </a:p>
        </p:txBody>
      </p:sp>
    </p:spTree>
    <p:extLst>
      <p:ext uri="{BB962C8B-B14F-4D97-AF65-F5344CB8AC3E}">
        <p14:creationId xmlns:p14="http://schemas.microsoft.com/office/powerpoint/2010/main" val="18484692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98000" y="1717743"/>
            <a:ext cx="8886403" cy="1980212"/>
          </a:xfrm>
        </p:spPr>
        <p:txBody>
          <a:bodyPr/>
          <a:lstStyle/>
          <a:p>
            <a:r>
              <a:rPr lang="cs-CZ">
                <a:latin typeface="+mn-lt"/>
              </a:rPr>
              <a:t>Železniční spojení mezi Drážďany a Prahou se nachází na evropském koridoru TEN-V Orient/Východo-středomořský. Ten spojuje německé přístavy Severního a Baltského moře </a:t>
            </a:r>
            <a:br>
              <a:rPr lang="cs-CZ">
                <a:latin typeface="+mn-lt"/>
              </a:rPr>
            </a:br>
            <a:r>
              <a:rPr lang="cs-CZ">
                <a:latin typeface="+mn-lt"/>
              </a:rPr>
              <a:t>s ekonomickými centry </a:t>
            </a:r>
            <a:br>
              <a:rPr lang="cs-CZ">
                <a:latin typeface="+mn-lt"/>
              </a:rPr>
            </a:br>
            <a:r>
              <a:rPr lang="cs-CZ">
                <a:latin typeface="+mn-lt"/>
              </a:rPr>
              <a:t>jihovýchodní Evropy.</a:t>
            </a:r>
          </a:p>
        </p:txBody>
      </p:sp>
      <p:sp>
        <p:nvSpPr>
          <p:cNvPr id="90" name="easyDyn_HBA_5">
            <a:extLst>
              <a:ext uri="{FF2B5EF4-FFF2-40B4-BE49-F238E27FC236}">
                <a16:creationId xmlns:a16="http://schemas.microsoft.com/office/drawing/2014/main" id="{E6407BBB-D4C3-437C-B3B7-06BE20638638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6442171" y="4432862"/>
            <a:ext cx="61731" cy="61731"/>
          </a:xfrm>
          <a:prstGeom prst="ellipse">
            <a:avLst/>
          </a:prstGeom>
          <a:solidFill>
            <a:srgbClr val="878C96"/>
          </a:solidFill>
          <a:ln w="9525" cmpd="sng">
            <a:solidFill>
              <a:srgbClr val="878C96"/>
            </a:solidFill>
            <a:prstDash val="solid"/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365" tIns="42183" rIns="84365" bIns="421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rgbClr val="FFFFFF"/>
              </a:solidFill>
              <a:latin typeface="DB Office" panose="020B0604020202020204" pitchFamily="34" charset="0"/>
              <a:cs typeface="Arial" pitchFamily="34" charset="0"/>
            </a:endParaRPr>
          </a:p>
        </p:txBody>
      </p:sp>
      <p:sp>
        <p:nvSpPr>
          <p:cNvPr id="87" name="Titel 3">
            <a:extLst>
              <a:ext uri="{FF2B5EF4-FFF2-40B4-BE49-F238E27FC236}">
                <a16:creationId xmlns:a16="http://schemas.microsoft.com/office/drawing/2014/main" id="{CCF61259-37F9-4FC8-9D0D-ED4BC3BE2F8A}"/>
              </a:ext>
            </a:extLst>
          </p:cNvPr>
          <p:cNvSpPr txBox="1">
            <a:spLocks/>
          </p:cNvSpPr>
          <p:nvPr/>
        </p:nvSpPr>
        <p:spPr bwMode="auto">
          <a:xfrm>
            <a:off x="179516" y="4070684"/>
            <a:ext cx="5376908" cy="2382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223200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>
                <a:solidFill>
                  <a:schemeClr val="tx2"/>
                </a:solidFill>
                <a:latin typeface="DB Office" panose="020B060402020202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9pPr>
          </a:lstStyle>
          <a:p>
            <a:r>
              <a:rPr lang="cs-CZ" sz="1600" kern="0">
                <a:solidFill>
                  <a:schemeClr val="tx1">
                    <a:lumMod val="50000"/>
                    <a:lumOff val="50000"/>
                  </a:schemeClr>
                </a:solidFill>
              </a:rPr>
              <a:t>Protíná přitom devět členských států Evropské unie – Německo, Českou republiku, Slovenskou republiku, Rakousko, Maďarsko, Rumunsko, Bulharsko, Řecko a Kypr. Kromě toho nabízí spojení ve směru Turecko.</a:t>
            </a:r>
            <a:br>
              <a:rPr lang="cs-CZ" ker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br>
              <a:rPr lang="cs-CZ" ker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endParaRPr lang="de-DE" kern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88" name="Fußzeilenplatzhalter 5">
            <a:extLst>
              <a:ext uri="{FF2B5EF4-FFF2-40B4-BE49-F238E27FC236}">
                <a16:creationId xmlns:a16="http://schemas.microsoft.com/office/drawing/2014/main" id="{4EEC8AEE-07FC-4CC5-B769-76BB36F69A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kern="1200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B Netz AG | Kay Müller | Informace k HSL v Česku| 28.11.2019</a:t>
            </a:r>
          </a:p>
        </p:txBody>
      </p:sp>
      <p:grpSp>
        <p:nvGrpSpPr>
          <p:cNvPr id="305" name="Gruppieren 304"/>
          <p:cNvGrpSpPr/>
          <p:nvPr>
            <p:custDataLst>
              <p:tags r:id="rId3"/>
            </p:custDataLst>
          </p:nvPr>
        </p:nvGrpSpPr>
        <p:grpSpPr>
          <a:xfrm>
            <a:off x="3733601" y="1752600"/>
            <a:ext cx="6473602" cy="4704969"/>
            <a:chOff x="1676400" y="1611313"/>
            <a:chExt cx="6019801" cy="4375150"/>
          </a:xfrm>
        </p:grpSpPr>
        <p:sp>
          <p:nvSpPr>
            <p:cNvPr id="225" name="Freeform 5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964113" y="4316413"/>
              <a:ext cx="581025" cy="263525"/>
            </a:xfrm>
            <a:custGeom>
              <a:avLst/>
              <a:gdLst>
                <a:gd name="T0" fmla="*/ 33 w 440"/>
                <a:gd name="T1" fmla="*/ 195 h 216"/>
                <a:gd name="T2" fmla="*/ 45 w 440"/>
                <a:gd name="T3" fmla="*/ 198 h 216"/>
                <a:gd name="T4" fmla="*/ 65 w 440"/>
                <a:gd name="T5" fmla="*/ 215 h 216"/>
                <a:gd name="T6" fmla="*/ 114 w 440"/>
                <a:gd name="T7" fmla="*/ 216 h 216"/>
                <a:gd name="T8" fmla="*/ 150 w 440"/>
                <a:gd name="T9" fmla="*/ 213 h 216"/>
                <a:gd name="T10" fmla="*/ 164 w 440"/>
                <a:gd name="T11" fmla="*/ 186 h 216"/>
                <a:gd name="T12" fmla="*/ 207 w 440"/>
                <a:gd name="T13" fmla="*/ 189 h 216"/>
                <a:gd name="T14" fmla="*/ 255 w 440"/>
                <a:gd name="T15" fmla="*/ 165 h 216"/>
                <a:gd name="T16" fmla="*/ 284 w 440"/>
                <a:gd name="T17" fmla="*/ 141 h 216"/>
                <a:gd name="T18" fmla="*/ 293 w 440"/>
                <a:gd name="T19" fmla="*/ 128 h 216"/>
                <a:gd name="T20" fmla="*/ 359 w 440"/>
                <a:gd name="T21" fmla="*/ 123 h 216"/>
                <a:gd name="T22" fmla="*/ 366 w 440"/>
                <a:gd name="T23" fmla="*/ 134 h 216"/>
                <a:gd name="T24" fmla="*/ 377 w 440"/>
                <a:gd name="T25" fmla="*/ 135 h 216"/>
                <a:gd name="T26" fmla="*/ 386 w 440"/>
                <a:gd name="T27" fmla="*/ 144 h 216"/>
                <a:gd name="T28" fmla="*/ 410 w 440"/>
                <a:gd name="T29" fmla="*/ 135 h 216"/>
                <a:gd name="T30" fmla="*/ 422 w 440"/>
                <a:gd name="T31" fmla="*/ 131 h 216"/>
                <a:gd name="T32" fmla="*/ 413 w 440"/>
                <a:gd name="T33" fmla="*/ 111 h 216"/>
                <a:gd name="T34" fmla="*/ 423 w 440"/>
                <a:gd name="T35" fmla="*/ 80 h 216"/>
                <a:gd name="T36" fmla="*/ 440 w 440"/>
                <a:gd name="T37" fmla="*/ 62 h 216"/>
                <a:gd name="T38" fmla="*/ 425 w 440"/>
                <a:gd name="T39" fmla="*/ 59 h 216"/>
                <a:gd name="T40" fmla="*/ 410 w 440"/>
                <a:gd name="T41" fmla="*/ 54 h 216"/>
                <a:gd name="T42" fmla="*/ 398 w 440"/>
                <a:gd name="T43" fmla="*/ 38 h 216"/>
                <a:gd name="T44" fmla="*/ 378 w 440"/>
                <a:gd name="T45" fmla="*/ 24 h 216"/>
                <a:gd name="T46" fmla="*/ 363 w 440"/>
                <a:gd name="T47" fmla="*/ 12 h 216"/>
                <a:gd name="T48" fmla="*/ 342 w 440"/>
                <a:gd name="T49" fmla="*/ 30 h 216"/>
                <a:gd name="T50" fmla="*/ 312 w 440"/>
                <a:gd name="T51" fmla="*/ 41 h 216"/>
                <a:gd name="T52" fmla="*/ 312 w 440"/>
                <a:gd name="T53" fmla="*/ 11 h 216"/>
                <a:gd name="T54" fmla="*/ 300 w 440"/>
                <a:gd name="T55" fmla="*/ 21 h 216"/>
                <a:gd name="T56" fmla="*/ 290 w 440"/>
                <a:gd name="T57" fmla="*/ 21 h 216"/>
                <a:gd name="T58" fmla="*/ 278 w 440"/>
                <a:gd name="T59" fmla="*/ 12 h 216"/>
                <a:gd name="T60" fmla="*/ 255 w 440"/>
                <a:gd name="T61" fmla="*/ 21 h 216"/>
                <a:gd name="T62" fmla="*/ 255 w 440"/>
                <a:gd name="T63" fmla="*/ 33 h 216"/>
                <a:gd name="T64" fmla="*/ 246 w 440"/>
                <a:gd name="T65" fmla="*/ 38 h 216"/>
                <a:gd name="T66" fmla="*/ 246 w 440"/>
                <a:gd name="T67" fmla="*/ 17 h 216"/>
                <a:gd name="T68" fmla="*/ 231 w 440"/>
                <a:gd name="T69" fmla="*/ 12 h 216"/>
                <a:gd name="T70" fmla="*/ 221 w 440"/>
                <a:gd name="T71" fmla="*/ 20 h 216"/>
                <a:gd name="T72" fmla="*/ 209 w 440"/>
                <a:gd name="T73" fmla="*/ 24 h 216"/>
                <a:gd name="T74" fmla="*/ 192 w 440"/>
                <a:gd name="T75" fmla="*/ 21 h 216"/>
                <a:gd name="T76" fmla="*/ 170 w 440"/>
                <a:gd name="T77" fmla="*/ 21 h 216"/>
                <a:gd name="T78" fmla="*/ 152 w 440"/>
                <a:gd name="T79" fmla="*/ 6 h 216"/>
                <a:gd name="T80" fmla="*/ 140 w 440"/>
                <a:gd name="T81" fmla="*/ 0 h 216"/>
                <a:gd name="T82" fmla="*/ 144 w 440"/>
                <a:gd name="T83" fmla="*/ 11 h 216"/>
                <a:gd name="T84" fmla="*/ 113 w 440"/>
                <a:gd name="T85" fmla="*/ 39 h 216"/>
                <a:gd name="T86" fmla="*/ 108 w 440"/>
                <a:gd name="T87" fmla="*/ 48 h 216"/>
                <a:gd name="T88" fmla="*/ 107 w 440"/>
                <a:gd name="T89" fmla="*/ 99 h 216"/>
                <a:gd name="T90" fmla="*/ 87 w 440"/>
                <a:gd name="T91" fmla="*/ 102 h 216"/>
                <a:gd name="T92" fmla="*/ 60 w 440"/>
                <a:gd name="T93" fmla="*/ 107 h 216"/>
                <a:gd name="T94" fmla="*/ 21 w 440"/>
                <a:gd name="T95" fmla="*/ 101 h 216"/>
                <a:gd name="T96" fmla="*/ 5 w 440"/>
                <a:gd name="T97" fmla="*/ 122 h 216"/>
                <a:gd name="T98" fmla="*/ 6 w 440"/>
                <a:gd name="T99" fmla="*/ 137 h 216"/>
                <a:gd name="T100" fmla="*/ 2 w 440"/>
                <a:gd name="T101" fmla="*/ 149 h 216"/>
                <a:gd name="T102" fmla="*/ 0 w 440"/>
                <a:gd name="T103" fmla="*/ 176 h 216"/>
                <a:gd name="T104" fmla="*/ 20 w 440"/>
                <a:gd name="T105" fmla="*/ 194 h 216"/>
                <a:gd name="T106" fmla="*/ 33 w 440"/>
                <a:gd name="T107" fmla="*/ 19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40" h="216">
                  <a:moveTo>
                    <a:pt x="33" y="195"/>
                  </a:moveTo>
                  <a:lnTo>
                    <a:pt x="45" y="198"/>
                  </a:lnTo>
                  <a:lnTo>
                    <a:pt x="65" y="215"/>
                  </a:lnTo>
                  <a:lnTo>
                    <a:pt x="114" y="216"/>
                  </a:lnTo>
                  <a:lnTo>
                    <a:pt x="150" y="213"/>
                  </a:lnTo>
                  <a:lnTo>
                    <a:pt x="164" y="186"/>
                  </a:lnTo>
                  <a:lnTo>
                    <a:pt x="207" y="189"/>
                  </a:lnTo>
                  <a:lnTo>
                    <a:pt x="255" y="165"/>
                  </a:lnTo>
                  <a:lnTo>
                    <a:pt x="284" y="141"/>
                  </a:lnTo>
                  <a:lnTo>
                    <a:pt x="293" y="128"/>
                  </a:lnTo>
                  <a:lnTo>
                    <a:pt x="359" y="123"/>
                  </a:lnTo>
                  <a:lnTo>
                    <a:pt x="366" y="134"/>
                  </a:lnTo>
                  <a:lnTo>
                    <a:pt x="377" y="135"/>
                  </a:lnTo>
                  <a:lnTo>
                    <a:pt x="386" y="144"/>
                  </a:lnTo>
                  <a:lnTo>
                    <a:pt x="410" y="135"/>
                  </a:lnTo>
                  <a:lnTo>
                    <a:pt x="422" y="131"/>
                  </a:lnTo>
                  <a:lnTo>
                    <a:pt x="413" y="111"/>
                  </a:lnTo>
                  <a:lnTo>
                    <a:pt x="423" y="80"/>
                  </a:lnTo>
                  <a:lnTo>
                    <a:pt x="440" y="62"/>
                  </a:lnTo>
                  <a:lnTo>
                    <a:pt x="425" y="59"/>
                  </a:lnTo>
                  <a:lnTo>
                    <a:pt x="410" y="54"/>
                  </a:lnTo>
                  <a:lnTo>
                    <a:pt x="398" y="38"/>
                  </a:lnTo>
                  <a:lnTo>
                    <a:pt x="378" y="24"/>
                  </a:lnTo>
                  <a:lnTo>
                    <a:pt x="363" y="12"/>
                  </a:lnTo>
                  <a:lnTo>
                    <a:pt x="342" y="30"/>
                  </a:lnTo>
                  <a:lnTo>
                    <a:pt x="312" y="41"/>
                  </a:lnTo>
                  <a:lnTo>
                    <a:pt x="312" y="11"/>
                  </a:lnTo>
                  <a:lnTo>
                    <a:pt x="300" y="21"/>
                  </a:lnTo>
                  <a:lnTo>
                    <a:pt x="290" y="21"/>
                  </a:lnTo>
                  <a:lnTo>
                    <a:pt x="278" y="12"/>
                  </a:lnTo>
                  <a:lnTo>
                    <a:pt x="255" y="21"/>
                  </a:lnTo>
                  <a:lnTo>
                    <a:pt x="255" y="33"/>
                  </a:lnTo>
                  <a:lnTo>
                    <a:pt x="246" y="38"/>
                  </a:lnTo>
                  <a:lnTo>
                    <a:pt x="246" y="17"/>
                  </a:lnTo>
                  <a:lnTo>
                    <a:pt x="231" y="12"/>
                  </a:lnTo>
                  <a:lnTo>
                    <a:pt x="221" y="20"/>
                  </a:lnTo>
                  <a:lnTo>
                    <a:pt x="209" y="24"/>
                  </a:lnTo>
                  <a:lnTo>
                    <a:pt x="192" y="21"/>
                  </a:lnTo>
                  <a:lnTo>
                    <a:pt x="170" y="21"/>
                  </a:lnTo>
                  <a:lnTo>
                    <a:pt x="152" y="6"/>
                  </a:lnTo>
                  <a:lnTo>
                    <a:pt x="140" y="0"/>
                  </a:lnTo>
                  <a:lnTo>
                    <a:pt x="144" y="11"/>
                  </a:lnTo>
                  <a:lnTo>
                    <a:pt x="113" y="39"/>
                  </a:lnTo>
                  <a:lnTo>
                    <a:pt x="108" y="48"/>
                  </a:lnTo>
                  <a:lnTo>
                    <a:pt x="107" y="99"/>
                  </a:lnTo>
                  <a:lnTo>
                    <a:pt x="87" y="102"/>
                  </a:lnTo>
                  <a:lnTo>
                    <a:pt x="60" y="107"/>
                  </a:lnTo>
                  <a:lnTo>
                    <a:pt x="21" y="101"/>
                  </a:lnTo>
                  <a:lnTo>
                    <a:pt x="5" y="122"/>
                  </a:lnTo>
                  <a:lnTo>
                    <a:pt x="6" y="137"/>
                  </a:lnTo>
                  <a:lnTo>
                    <a:pt x="2" y="149"/>
                  </a:lnTo>
                  <a:lnTo>
                    <a:pt x="0" y="176"/>
                  </a:lnTo>
                  <a:lnTo>
                    <a:pt x="20" y="194"/>
                  </a:lnTo>
                  <a:lnTo>
                    <a:pt x="33" y="195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 wrap="none" lIns="90000" tIns="46800" rIns="90000" bIns="46800" anchor="ctr"/>
            <a:lstStyle/>
            <a:p>
              <a:endParaRPr lang="de-DE" dirty="0"/>
            </a:p>
          </p:txBody>
        </p:sp>
        <p:sp>
          <p:nvSpPr>
            <p:cNvPr id="226" name="Freeform 6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318125" y="5295901"/>
              <a:ext cx="774700" cy="687388"/>
            </a:xfrm>
            <a:custGeom>
              <a:avLst/>
              <a:gdLst>
                <a:gd name="T0" fmla="*/ 448 w 793"/>
                <a:gd name="T1" fmla="*/ 83 h 843"/>
                <a:gd name="T2" fmla="*/ 519 w 793"/>
                <a:gd name="T3" fmla="*/ 52 h 843"/>
                <a:gd name="T4" fmla="*/ 577 w 793"/>
                <a:gd name="T5" fmla="*/ 67 h 843"/>
                <a:gd name="T6" fmla="*/ 663 w 793"/>
                <a:gd name="T7" fmla="*/ 67 h 843"/>
                <a:gd name="T8" fmla="*/ 723 w 793"/>
                <a:gd name="T9" fmla="*/ 25 h 843"/>
                <a:gd name="T10" fmla="*/ 793 w 793"/>
                <a:gd name="T11" fmla="*/ 25 h 843"/>
                <a:gd name="T12" fmla="*/ 766 w 793"/>
                <a:gd name="T13" fmla="*/ 87 h 843"/>
                <a:gd name="T14" fmla="*/ 735 w 793"/>
                <a:gd name="T15" fmla="*/ 170 h 843"/>
                <a:gd name="T16" fmla="*/ 607 w 793"/>
                <a:gd name="T17" fmla="*/ 139 h 843"/>
                <a:gd name="T18" fmla="*/ 548 w 793"/>
                <a:gd name="T19" fmla="*/ 155 h 843"/>
                <a:gd name="T20" fmla="*/ 504 w 793"/>
                <a:gd name="T21" fmla="*/ 184 h 843"/>
                <a:gd name="T22" fmla="*/ 475 w 793"/>
                <a:gd name="T23" fmla="*/ 226 h 843"/>
                <a:gd name="T24" fmla="*/ 504 w 793"/>
                <a:gd name="T25" fmla="*/ 283 h 843"/>
                <a:gd name="T26" fmla="*/ 461 w 793"/>
                <a:gd name="T27" fmla="*/ 271 h 843"/>
                <a:gd name="T28" fmla="*/ 432 w 793"/>
                <a:gd name="T29" fmla="*/ 283 h 843"/>
                <a:gd name="T30" fmla="*/ 418 w 793"/>
                <a:gd name="T31" fmla="*/ 298 h 843"/>
                <a:gd name="T32" fmla="*/ 374 w 793"/>
                <a:gd name="T33" fmla="*/ 271 h 843"/>
                <a:gd name="T34" fmla="*/ 304 w 793"/>
                <a:gd name="T35" fmla="*/ 213 h 843"/>
                <a:gd name="T36" fmla="*/ 304 w 793"/>
                <a:gd name="T37" fmla="*/ 298 h 843"/>
                <a:gd name="T38" fmla="*/ 418 w 793"/>
                <a:gd name="T39" fmla="*/ 399 h 843"/>
                <a:gd name="T40" fmla="*/ 374 w 793"/>
                <a:gd name="T41" fmla="*/ 384 h 843"/>
                <a:gd name="T42" fmla="*/ 345 w 793"/>
                <a:gd name="T43" fmla="*/ 428 h 843"/>
                <a:gd name="T44" fmla="*/ 360 w 793"/>
                <a:gd name="T45" fmla="*/ 486 h 843"/>
                <a:gd name="T46" fmla="*/ 475 w 793"/>
                <a:gd name="T47" fmla="*/ 556 h 843"/>
                <a:gd name="T48" fmla="*/ 490 w 793"/>
                <a:gd name="T49" fmla="*/ 643 h 843"/>
                <a:gd name="T50" fmla="*/ 389 w 793"/>
                <a:gd name="T51" fmla="*/ 643 h 843"/>
                <a:gd name="T52" fmla="*/ 448 w 793"/>
                <a:gd name="T53" fmla="*/ 686 h 843"/>
                <a:gd name="T54" fmla="*/ 360 w 793"/>
                <a:gd name="T55" fmla="*/ 686 h 843"/>
                <a:gd name="T56" fmla="*/ 360 w 793"/>
                <a:gd name="T57" fmla="*/ 742 h 843"/>
                <a:gd name="T58" fmla="*/ 418 w 793"/>
                <a:gd name="T59" fmla="*/ 816 h 843"/>
                <a:gd name="T60" fmla="*/ 331 w 793"/>
                <a:gd name="T61" fmla="*/ 800 h 843"/>
                <a:gd name="T62" fmla="*/ 318 w 793"/>
                <a:gd name="T63" fmla="*/ 843 h 843"/>
                <a:gd name="T64" fmla="*/ 259 w 793"/>
                <a:gd name="T65" fmla="*/ 787 h 843"/>
                <a:gd name="T66" fmla="*/ 230 w 793"/>
                <a:gd name="T67" fmla="*/ 771 h 843"/>
                <a:gd name="T68" fmla="*/ 186 w 793"/>
                <a:gd name="T69" fmla="*/ 771 h 843"/>
                <a:gd name="T70" fmla="*/ 186 w 793"/>
                <a:gd name="T71" fmla="*/ 686 h 843"/>
                <a:gd name="T72" fmla="*/ 129 w 793"/>
                <a:gd name="T73" fmla="*/ 614 h 843"/>
                <a:gd name="T74" fmla="*/ 186 w 793"/>
                <a:gd name="T75" fmla="*/ 585 h 843"/>
                <a:gd name="T76" fmla="*/ 259 w 793"/>
                <a:gd name="T77" fmla="*/ 572 h 843"/>
                <a:gd name="T78" fmla="*/ 318 w 793"/>
                <a:gd name="T79" fmla="*/ 601 h 843"/>
                <a:gd name="T80" fmla="*/ 345 w 793"/>
                <a:gd name="T81" fmla="*/ 572 h 843"/>
                <a:gd name="T82" fmla="*/ 275 w 793"/>
                <a:gd name="T83" fmla="*/ 543 h 843"/>
                <a:gd name="T84" fmla="*/ 172 w 793"/>
                <a:gd name="T85" fmla="*/ 543 h 843"/>
                <a:gd name="T86" fmla="*/ 100 w 793"/>
                <a:gd name="T87" fmla="*/ 529 h 843"/>
                <a:gd name="T88" fmla="*/ 85 w 793"/>
                <a:gd name="T89" fmla="*/ 471 h 843"/>
                <a:gd name="T90" fmla="*/ 116 w 793"/>
                <a:gd name="T91" fmla="*/ 442 h 843"/>
                <a:gd name="T92" fmla="*/ 58 w 793"/>
                <a:gd name="T93" fmla="*/ 415 h 843"/>
                <a:gd name="T94" fmla="*/ 15 w 793"/>
                <a:gd name="T95" fmla="*/ 356 h 843"/>
                <a:gd name="T96" fmla="*/ 71 w 793"/>
                <a:gd name="T97" fmla="*/ 298 h 843"/>
                <a:gd name="T98" fmla="*/ 116 w 793"/>
                <a:gd name="T99" fmla="*/ 226 h 843"/>
                <a:gd name="T100" fmla="*/ 100 w 793"/>
                <a:gd name="T101" fmla="*/ 155 h 843"/>
                <a:gd name="T102" fmla="*/ 172 w 793"/>
                <a:gd name="T103" fmla="*/ 155 h 843"/>
                <a:gd name="T104" fmla="*/ 275 w 793"/>
                <a:gd name="T105" fmla="*/ 126 h 843"/>
                <a:gd name="T106" fmla="*/ 360 w 793"/>
                <a:gd name="T107" fmla="*/ 83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3" h="843">
                  <a:moveTo>
                    <a:pt x="331" y="83"/>
                  </a:moveTo>
                  <a:lnTo>
                    <a:pt x="360" y="83"/>
                  </a:lnTo>
                  <a:lnTo>
                    <a:pt x="389" y="83"/>
                  </a:lnTo>
                  <a:lnTo>
                    <a:pt x="418" y="83"/>
                  </a:lnTo>
                  <a:lnTo>
                    <a:pt x="448" y="83"/>
                  </a:lnTo>
                  <a:lnTo>
                    <a:pt x="461" y="96"/>
                  </a:lnTo>
                  <a:lnTo>
                    <a:pt x="481" y="83"/>
                  </a:lnTo>
                  <a:lnTo>
                    <a:pt x="477" y="67"/>
                  </a:lnTo>
                  <a:lnTo>
                    <a:pt x="486" y="62"/>
                  </a:lnTo>
                  <a:lnTo>
                    <a:pt x="519" y="52"/>
                  </a:lnTo>
                  <a:lnTo>
                    <a:pt x="533" y="62"/>
                  </a:lnTo>
                  <a:lnTo>
                    <a:pt x="545" y="52"/>
                  </a:lnTo>
                  <a:lnTo>
                    <a:pt x="548" y="52"/>
                  </a:lnTo>
                  <a:lnTo>
                    <a:pt x="562" y="67"/>
                  </a:lnTo>
                  <a:lnTo>
                    <a:pt x="577" y="67"/>
                  </a:lnTo>
                  <a:lnTo>
                    <a:pt x="577" y="83"/>
                  </a:lnTo>
                  <a:lnTo>
                    <a:pt x="607" y="67"/>
                  </a:lnTo>
                  <a:lnTo>
                    <a:pt x="620" y="67"/>
                  </a:lnTo>
                  <a:lnTo>
                    <a:pt x="634" y="67"/>
                  </a:lnTo>
                  <a:lnTo>
                    <a:pt x="663" y="67"/>
                  </a:lnTo>
                  <a:lnTo>
                    <a:pt x="678" y="54"/>
                  </a:lnTo>
                  <a:lnTo>
                    <a:pt x="705" y="54"/>
                  </a:lnTo>
                  <a:lnTo>
                    <a:pt x="735" y="54"/>
                  </a:lnTo>
                  <a:lnTo>
                    <a:pt x="735" y="42"/>
                  </a:lnTo>
                  <a:lnTo>
                    <a:pt x="723" y="25"/>
                  </a:lnTo>
                  <a:lnTo>
                    <a:pt x="723" y="9"/>
                  </a:lnTo>
                  <a:lnTo>
                    <a:pt x="750" y="0"/>
                  </a:lnTo>
                  <a:lnTo>
                    <a:pt x="771" y="9"/>
                  </a:lnTo>
                  <a:lnTo>
                    <a:pt x="779" y="25"/>
                  </a:lnTo>
                  <a:lnTo>
                    <a:pt x="793" y="25"/>
                  </a:lnTo>
                  <a:lnTo>
                    <a:pt x="793" y="40"/>
                  </a:lnTo>
                  <a:lnTo>
                    <a:pt x="793" y="54"/>
                  </a:lnTo>
                  <a:lnTo>
                    <a:pt x="779" y="67"/>
                  </a:lnTo>
                  <a:lnTo>
                    <a:pt x="787" y="83"/>
                  </a:lnTo>
                  <a:lnTo>
                    <a:pt x="766" y="87"/>
                  </a:lnTo>
                  <a:lnTo>
                    <a:pt x="771" y="96"/>
                  </a:lnTo>
                  <a:lnTo>
                    <a:pt x="764" y="126"/>
                  </a:lnTo>
                  <a:lnTo>
                    <a:pt x="750" y="139"/>
                  </a:lnTo>
                  <a:lnTo>
                    <a:pt x="750" y="155"/>
                  </a:lnTo>
                  <a:lnTo>
                    <a:pt x="735" y="170"/>
                  </a:lnTo>
                  <a:lnTo>
                    <a:pt x="721" y="170"/>
                  </a:lnTo>
                  <a:lnTo>
                    <a:pt x="705" y="155"/>
                  </a:lnTo>
                  <a:lnTo>
                    <a:pt x="663" y="155"/>
                  </a:lnTo>
                  <a:lnTo>
                    <a:pt x="634" y="139"/>
                  </a:lnTo>
                  <a:lnTo>
                    <a:pt x="607" y="139"/>
                  </a:lnTo>
                  <a:lnTo>
                    <a:pt x="591" y="139"/>
                  </a:lnTo>
                  <a:lnTo>
                    <a:pt x="607" y="155"/>
                  </a:lnTo>
                  <a:lnTo>
                    <a:pt x="591" y="170"/>
                  </a:lnTo>
                  <a:lnTo>
                    <a:pt x="562" y="170"/>
                  </a:lnTo>
                  <a:lnTo>
                    <a:pt x="548" y="155"/>
                  </a:lnTo>
                  <a:lnTo>
                    <a:pt x="533" y="139"/>
                  </a:lnTo>
                  <a:lnTo>
                    <a:pt x="519" y="155"/>
                  </a:lnTo>
                  <a:lnTo>
                    <a:pt x="519" y="170"/>
                  </a:lnTo>
                  <a:lnTo>
                    <a:pt x="519" y="184"/>
                  </a:lnTo>
                  <a:lnTo>
                    <a:pt x="504" y="184"/>
                  </a:lnTo>
                  <a:lnTo>
                    <a:pt x="461" y="184"/>
                  </a:lnTo>
                  <a:lnTo>
                    <a:pt x="448" y="184"/>
                  </a:lnTo>
                  <a:lnTo>
                    <a:pt x="448" y="197"/>
                  </a:lnTo>
                  <a:lnTo>
                    <a:pt x="461" y="213"/>
                  </a:lnTo>
                  <a:lnTo>
                    <a:pt x="475" y="226"/>
                  </a:lnTo>
                  <a:lnTo>
                    <a:pt x="504" y="242"/>
                  </a:lnTo>
                  <a:lnTo>
                    <a:pt x="533" y="256"/>
                  </a:lnTo>
                  <a:lnTo>
                    <a:pt x="548" y="256"/>
                  </a:lnTo>
                  <a:lnTo>
                    <a:pt x="533" y="271"/>
                  </a:lnTo>
                  <a:lnTo>
                    <a:pt x="504" y="283"/>
                  </a:lnTo>
                  <a:lnTo>
                    <a:pt x="475" y="283"/>
                  </a:lnTo>
                  <a:lnTo>
                    <a:pt x="475" y="256"/>
                  </a:lnTo>
                  <a:lnTo>
                    <a:pt x="461" y="256"/>
                  </a:lnTo>
                  <a:lnTo>
                    <a:pt x="448" y="256"/>
                  </a:lnTo>
                  <a:lnTo>
                    <a:pt x="461" y="271"/>
                  </a:lnTo>
                  <a:lnTo>
                    <a:pt x="475" y="298"/>
                  </a:lnTo>
                  <a:lnTo>
                    <a:pt x="490" y="298"/>
                  </a:lnTo>
                  <a:lnTo>
                    <a:pt x="490" y="312"/>
                  </a:lnTo>
                  <a:lnTo>
                    <a:pt x="448" y="298"/>
                  </a:lnTo>
                  <a:lnTo>
                    <a:pt x="432" y="283"/>
                  </a:lnTo>
                  <a:lnTo>
                    <a:pt x="418" y="271"/>
                  </a:lnTo>
                  <a:lnTo>
                    <a:pt x="403" y="256"/>
                  </a:lnTo>
                  <a:lnTo>
                    <a:pt x="403" y="271"/>
                  </a:lnTo>
                  <a:lnTo>
                    <a:pt x="403" y="283"/>
                  </a:lnTo>
                  <a:lnTo>
                    <a:pt x="418" y="298"/>
                  </a:lnTo>
                  <a:lnTo>
                    <a:pt x="448" y="312"/>
                  </a:lnTo>
                  <a:lnTo>
                    <a:pt x="448" y="327"/>
                  </a:lnTo>
                  <a:lnTo>
                    <a:pt x="418" y="312"/>
                  </a:lnTo>
                  <a:lnTo>
                    <a:pt x="389" y="298"/>
                  </a:lnTo>
                  <a:lnTo>
                    <a:pt x="374" y="271"/>
                  </a:lnTo>
                  <a:lnTo>
                    <a:pt x="360" y="242"/>
                  </a:lnTo>
                  <a:lnTo>
                    <a:pt x="345" y="226"/>
                  </a:lnTo>
                  <a:lnTo>
                    <a:pt x="345" y="197"/>
                  </a:lnTo>
                  <a:lnTo>
                    <a:pt x="331" y="197"/>
                  </a:lnTo>
                  <a:lnTo>
                    <a:pt x="304" y="213"/>
                  </a:lnTo>
                  <a:lnTo>
                    <a:pt x="289" y="226"/>
                  </a:lnTo>
                  <a:lnTo>
                    <a:pt x="304" y="242"/>
                  </a:lnTo>
                  <a:lnTo>
                    <a:pt x="304" y="256"/>
                  </a:lnTo>
                  <a:lnTo>
                    <a:pt x="304" y="271"/>
                  </a:lnTo>
                  <a:lnTo>
                    <a:pt x="304" y="298"/>
                  </a:lnTo>
                  <a:lnTo>
                    <a:pt x="318" y="312"/>
                  </a:lnTo>
                  <a:lnTo>
                    <a:pt x="345" y="327"/>
                  </a:lnTo>
                  <a:lnTo>
                    <a:pt x="360" y="356"/>
                  </a:lnTo>
                  <a:lnTo>
                    <a:pt x="403" y="399"/>
                  </a:lnTo>
                  <a:lnTo>
                    <a:pt x="418" y="399"/>
                  </a:lnTo>
                  <a:lnTo>
                    <a:pt x="403" y="428"/>
                  </a:lnTo>
                  <a:lnTo>
                    <a:pt x="389" y="428"/>
                  </a:lnTo>
                  <a:lnTo>
                    <a:pt x="389" y="415"/>
                  </a:lnTo>
                  <a:lnTo>
                    <a:pt x="389" y="399"/>
                  </a:lnTo>
                  <a:lnTo>
                    <a:pt x="374" y="384"/>
                  </a:lnTo>
                  <a:lnTo>
                    <a:pt x="345" y="384"/>
                  </a:lnTo>
                  <a:lnTo>
                    <a:pt x="331" y="384"/>
                  </a:lnTo>
                  <a:lnTo>
                    <a:pt x="318" y="399"/>
                  </a:lnTo>
                  <a:lnTo>
                    <a:pt x="331" y="428"/>
                  </a:lnTo>
                  <a:lnTo>
                    <a:pt x="345" y="428"/>
                  </a:lnTo>
                  <a:lnTo>
                    <a:pt x="345" y="442"/>
                  </a:lnTo>
                  <a:lnTo>
                    <a:pt x="331" y="457"/>
                  </a:lnTo>
                  <a:lnTo>
                    <a:pt x="318" y="471"/>
                  </a:lnTo>
                  <a:lnTo>
                    <a:pt x="331" y="486"/>
                  </a:lnTo>
                  <a:lnTo>
                    <a:pt x="360" y="486"/>
                  </a:lnTo>
                  <a:lnTo>
                    <a:pt x="389" y="500"/>
                  </a:lnTo>
                  <a:lnTo>
                    <a:pt x="418" y="513"/>
                  </a:lnTo>
                  <a:lnTo>
                    <a:pt x="432" y="513"/>
                  </a:lnTo>
                  <a:lnTo>
                    <a:pt x="448" y="543"/>
                  </a:lnTo>
                  <a:lnTo>
                    <a:pt x="475" y="556"/>
                  </a:lnTo>
                  <a:lnTo>
                    <a:pt x="490" y="556"/>
                  </a:lnTo>
                  <a:lnTo>
                    <a:pt x="490" y="585"/>
                  </a:lnTo>
                  <a:lnTo>
                    <a:pt x="490" y="614"/>
                  </a:lnTo>
                  <a:lnTo>
                    <a:pt x="490" y="628"/>
                  </a:lnTo>
                  <a:lnTo>
                    <a:pt x="490" y="643"/>
                  </a:lnTo>
                  <a:lnTo>
                    <a:pt x="461" y="628"/>
                  </a:lnTo>
                  <a:lnTo>
                    <a:pt x="448" y="601"/>
                  </a:lnTo>
                  <a:lnTo>
                    <a:pt x="432" y="601"/>
                  </a:lnTo>
                  <a:lnTo>
                    <a:pt x="403" y="628"/>
                  </a:lnTo>
                  <a:lnTo>
                    <a:pt x="389" y="643"/>
                  </a:lnTo>
                  <a:lnTo>
                    <a:pt x="389" y="657"/>
                  </a:lnTo>
                  <a:lnTo>
                    <a:pt x="403" y="672"/>
                  </a:lnTo>
                  <a:lnTo>
                    <a:pt x="418" y="672"/>
                  </a:lnTo>
                  <a:lnTo>
                    <a:pt x="448" y="657"/>
                  </a:lnTo>
                  <a:lnTo>
                    <a:pt x="448" y="686"/>
                  </a:lnTo>
                  <a:lnTo>
                    <a:pt x="418" y="702"/>
                  </a:lnTo>
                  <a:lnTo>
                    <a:pt x="389" y="715"/>
                  </a:lnTo>
                  <a:lnTo>
                    <a:pt x="374" y="715"/>
                  </a:lnTo>
                  <a:lnTo>
                    <a:pt x="360" y="702"/>
                  </a:lnTo>
                  <a:lnTo>
                    <a:pt x="360" y="686"/>
                  </a:lnTo>
                  <a:lnTo>
                    <a:pt x="345" y="672"/>
                  </a:lnTo>
                  <a:lnTo>
                    <a:pt x="331" y="672"/>
                  </a:lnTo>
                  <a:lnTo>
                    <a:pt x="331" y="702"/>
                  </a:lnTo>
                  <a:lnTo>
                    <a:pt x="345" y="715"/>
                  </a:lnTo>
                  <a:lnTo>
                    <a:pt x="360" y="742"/>
                  </a:lnTo>
                  <a:lnTo>
                    <a:pt x="374" y="742"/>
                  </a:lnTo>
                  <a:lnTo>
                    <a:pt x="374" y="771"/>
                  </a:lnTo>
                  <a:lnTo>
                    <a:pt x="389" y="787"/>
                  </a:lnTo>
                  <a:lnTo>
                    <a:pt x="389" y="800"/>
                  </a:lnTo>
                  <a:lnTo>
                    <a:pt x="418" y="816"/>
                  </a:lnTo>
                  <a:lnTo>
                    <a:pt x="418" y="830"/>
                  </a:lnTo>
                  <a:lnTo>
                    <a:pt x="360" y="830"/>
                  </a:lnTo>
                  <a:lnTo>
                    <a:pt x="345" y="830"/>
                  </a:lnTo>
                  <a:lnTo>
                    <a:pt x="345" y="800"/>
                  </a:lnTo>
                  <a:lnTo>
                    <a:pt x="331" y="800"/>
                  </a:lnTo>
                  <a:lnTo>
                    <a:pt x="331" y="771"/>
                  </a:lnTo>
                  <a:lnTo>
                    <a:pt x="318" y="787"/>
                  </a:lnTo>
                  <a:lnTo>
                    <a:pt x="318" y="800"/>
                  </a:lnTo>
                  <a:lnTo>
                    <a:pt x="318" y="816"/>
                  </a:lnTo>
                  <a:lnTo>
                    <a:pt x="318" y="843"/>
                  </a:lnTo>
                  <a:lnTo>
                    <a:pt x="304" y="843"/>
                  </a:lnTo>
                  <a:lnTo>
                    <a:pt x="289" y="816"/>
                  </a:lnTo>
                  <a:lnTo>
                    <a:pt x="275" y="816"/>
                  </a:lnTo>
                  <a:lnTo>
                    <a:pt x="259" y="800"/>
                  </a:lnTo>
                  <a:lnTo>
                    <a:pt x="259" y="787"/>
                  </a:lnTo>
                  <a:lnTo>
                    <a:pt x="259" y="771"/>
                  </a:lnTo>
                  <a:lnTo>
                    <a:pt x="259" y="758"/>
                  </a:lnTo>
                  <a:lnTo>
                    <a:pt x="246" y="742"/>
                  </a:lnTo>
                  <a:lnTo>
                    <a:pt x="230" y="758"/>
                  </a:lnTo>
                  <a:lnTo>
                    <a:pt x="230" y="771"/>
                  </a:lnTo>
                  <a:lnTo>
                    <a:pt x="246" y="787"/>
                  </a:lnTo>
                  <a:lnTo>
                    <a:pt x="230" y="800"/>
                  </a:lnTo>
                  <a:lnTo>
                    <a:pt x="215" y="800"/>
                  </a:lnTo>
                  <a:lnTo>
                    <a:pt x="201" y="800"/>
                  </a:lnTo>
                  <a:lnTo>
                    <a:pt x="186" y="771"/>
                  </a:lnTo>
                  <a:lnTo>
                    <a:pt x="186" y="758"/>
                  </a:lnTo>
                  <a:lnTo>
                    <a:pt x="186" y="742"/>
                  </a:lnTo>
                  <a:lnTo>
                    <a:pt x="172" y="731"/>
                  </a:lnTo>
                  <a:lnTo>
                    <a:pt x="186" y="715"/>
                  </a:lnTo>
                  <a:lnTo>
                    <a:pt x="186" y="686"/>
                  </a:lnTo>
                  <a:lnTo>
                    <a:pt x="186" y="672"/>
                  </a:lnTo>
                  <a:lnTo>
                    <a:pt x="172" y="657"/>
                  </a:lnTo>
                  <a:lnTo>
                    <a:pt x="159" y="643"/>
                  </a:lnTo>
                  <a:lnTo>
                    <a:pt x="143" y="643"/>
                  </a:lnTo>
                  <a:lnTo>
                    <a:pt x="129" y="614"/>
                  </a:lnTo>
                  <a:lnTo>
                    <a:pt x="129" y="601"/>
                  </a:lnTo>
                  <a:lnTo>
                    <a:pt x="143" y="585"/>
                  </a:lnTo>
                  <a:lnTo>
                    <a:pt x="159" y="585"/>
                  </a:lnTo>
                  <a:lnTo>
                    <a:pt x="172" y="585"/>
                  </a:lnTo>
                  <a:lnTo>
                    <a:pt x="186" y="585"/>
                  </a:lnTo>
                  <a:lnTo>
                    <a:pt x="201" y="585"/>
                  </a:lnTo>
                  <a:lnTo>
                    <a:pt x="215" y="572"/>
                  </a:lnTo>
                  <a:lnTo>
                    <a:pt x="230" y="572"/>
                  </a:lnTo>
                  <a:lnTo>
                    <a:pt x="246" y="572"/>
                  </a:lnTo>
                  <a:lnTo>
                    <a:pt x="259" y="572"/>
                  </a:lnTo>
                  <a:lnTo>
                    <a:pt x="275" y="572"/>
                  </a:lnTo>
                  <a:lnTo>
                    <a:pt x="275" y="585"/>
                  </a:lnTo>
                  <a:lnTo>
                    <a:pt x="304" y="572"/>
                  </a:lnTo>
                  <a:lnTo>
                    <a:pt x="318" y="585"/>
                  </a:lnTo>
                  <a:lnTo>
                    <a:pt x="318" y="601"/>
                  </a:lnTo>
                  <a:lnTo>
                    <a:pt x="331" y="614"/>
                  </a:lnTo>
                  <a:lnTo>
                    <a:pt x="345" y="601"/>
                  </a:lnTo>
                  <a:lnTo>
                    <a:pt x="360" y="601"/>
                  </a:lnTo>
                  <a:lnTo>
                    <a:pt x="374" y="585"/>
                  </a:lnTo>
                  <a:lnTo>
                    <a:pt x="345" y="572"/>
                  </a:lnTo>
                  <a:lnTo>
                    <a:pt x="331" y="556"/>
                  </a:lnTo>
                  <a:lnTo>
                    <a:pt x="318" y="543"/>
                  </a:lnTo>
                  <a:lnTo>
                    <a:pt x="289" y="543"/>
                  </a:lnTo>
                  <a:lnTo>
                    <a:pt x="289" y="556"/>
                  </a:lnTo>
                  <a:lnTo>
                    <a:pt x="275" y="543"/>
                  </a:lnTo>
                  <a:lnTo>
                    <a:pt x="259" y="529"/>
                  </a:lnTo>
                  <a:lnTo>
                    <a:pt x="230" y="529"/>
                  </a:lnTo>
                  <a:lnTo>
                    <a:pt x="215" y="529"/>
                  </a:lnTo>
                  <a:lnTo>
                    <a:pt x="201" y="529"/>
                  </a:lnTo>
                  <a:lnTo>
                    <a:pt x="172" y="543"/>
                  </a:lnTo>
                  <a:lnTo>
                    <a:pt x="172" y="529"/>
                  </a:lnTo>
                  <a:lnTo>
                    <a:pt x="159" y="529"/>
                  </a:lnTo>
                  <a:lnTo>
                    <a:pt x="143" y="529"/>
                  </a:lnTo>
                  <a:lnTo>
                    <a:pt x="129" y="543"/>
                  </a:lnTo>
                  <a:lnTo>
                    <a:pt x="100" y="529"/>
                  </a:lnTo>
                  <a:lnTo>
                    <a:pt x="85" y="529"/>
                  </a:lnTo>
                  <a:lnTo>
                    <a:pt x="85" y="513"/>
                  </a:lnTo>
                  <a:lnTo>
                    <a:pt x="85" y="500"/>
                  </a:lnTo>
                  <a:lnTo>
                    <a:pt x="71" y="486"/>
                  </a:lnTo>
                  <a:lnTo>
                    <a:pt x="85" y="471"/>
                  </a:lnTo>
                  <a:lnTo>
                    <a:pt x="100" y="471"/>
                  </a:lnTo>
                  <a:lnTo>
                    <a:pt x="129" y="471"/>
                  </a:lnTo>
                  <a:lnTo>
                    <a:pt x="129" y="457"/>
                  </a:lnTo>
                  <a:lnTo>
                    <a:pt x="129" y="442"/>
                  </a:lnTo>
                  <a:lnTo>
                    <a:pt x="116" y="442"/>
                  </a:lnTo>
                  <a:lnTo>
                    <a:pt x="100" y="442"/>
                  </a:lnTo>
                  <a:lnTo>
                    <a:pt x="85" y="442"/>
                  </a:lnTo>
                  <a:lnTo>
                    <a:pt x="71" y="457"/>
                  </a:lnTo>
                  <a:lnTo>
                    <a:pt x="58" y="442"/>
                  </a:lnTo>
                  <a:lnTo>
                    <a:pt x="58" y="415"/>
                  </a:lnTo>
                  <a:lnTo>
                    <a:pt x="58" y="399"/>
                  </a:lnTo>
                  <a:lnTo>
                    <a:pt x="29" y="399"/>
                  </a:lnTo>
                  <a:lnTo>
                    <a:pt x="15" y="384"/>
                  </a:lnTo>
                  <a:lnTo>
                    <a:pt x="0" y="356"/>
                  </a:lnTo>
                  <a:lnTo>
                    <a:pt x="15" y="356"/>
                  </a:lnTo>
                  <a:lnTo>
                    <a:pt x="15" y="341"/>
                  </a:lnTo>
                  <a:lnTo>
                    <a:pt x="15" y="327"/>
                  </a:lnTo>
                  <a:lnTo>
                    <a:pt x="29" y="312"/>
                  </a:lnTo>
                  <a:lnTo>
                    <a:pt x="44" y="312"/>
                  </a:lnTo>
                  <a:lnTo>
                    <a:pt x="71" y="298"/>
                  </a:lnTo>
                  <a:lnTo>
                    <a:pt x="58" y="283"/>
                  </a:lnTo>
                  <a:lnTo>
                    <a:pt x="71" y="283"/>
                  </a:lnTo>
                  <a:lnTo>
                    <a:pt x="85" y="271"/>
                  </a:lnTo>
                  <a:lnTo>
                    <a:pt x="100" y="242"/>
                  </a:lnTo>
                  <a:lnTo>
                    <a:pt x="116" y="226"/>
                  </a:lnTo>
                  <a:lnTo>
                    <a:pt x="116" y="213"/>
                  </a:lnTo>
                  <a:lnTo>
                    <a:pt x="116" y="197"/>
                  </a:lnTo>
                  <a:lnTo>
                    <a:pt x="100" y="184"/>
                  </a:lnTo>
                  <a:lnTo>
                    <a:pt x="85" y="170"/>
                  </a:lnTo>
                  <a:lnTo>
                    <a:pt x="100" y="155"/>
                  </a:lnTo>
                  <a:lnTo>
                    <a:pt x="116" y="155"/>
                  </a:lnTo>
                  <a:lnTo>
                    <a:pt x="116" y="139"/>
                  </a:lnTo>
                  <a:lnTo>
                    <a:pt x="129" y="155"/>
                  </a:lnTo>
                  <a:lnTo>
                    <a:pt x="159" y="155"/>
                  </a:lnTo>
                  <a:lnTo>
                    <a:pt x="172" y="155"/>
                  </a:lnTo>
                  <a:lnTo>
                    <a:pt x="201" y="139"/>
                  </a:lnTo>
                  <a:lnTo>
                    <a:pt x="230" y="139"/>
                  </a:lnTo>
                  <a:lnTo>
                    <a:pt x="246" y="126"/>
                  </a:lnTo>
                  <a:lnTo>
                    <a:pt x="259" y="112"/>
                  </a:lnTo>
                  <a:lnTo>
                    <a:pt x="275" y="126"/>
                  </a:lnTo>
                  <a:lnTo>
                    <a:pt x="289" y="126"/>
                  </a:lnTo>
                  <a:lnTo>
                    <a:pt x="304" y="126"/>
                  </a:lnTo>
                  <a:lnTo>
                    <a:pt x="318" y="112"/>
                  </a:lnTo>
                  <a:lnTo>
                    <a:pt x="331" y="96"/>
                  </a:lnTo>
                  <a:lnTo>
                    <a:pt x="360" y="83"/>
                  </a:lnTo>
                  <a:lnTo>
                    <a:pt x="331" y="83"/>
                  </a:lnTo>
                  <a:lnTo>
                    <a:pt x="331" y="83"/>
                  </a:lnTo>
                  <a:close/>
                </a:path>
              </a:pathLst>
            </a:custGeom>
            <a:solidFill>
              <a:srgbClr val="FF0000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FFFF"/>
                </a:solidFill>
              </a:endParaRPr>
            </a:p>
          </p:txBody>
        </p:sp>
        <p:sp>
          <p:nvSpPr>
            <p:cNvPr id="227" name="Freeform 7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551488" y="4989513"/>
              <a:ext cx="733425" cy="387350"/>
            </a:xfrm>
            <a:custGeom>
              <a:avLst/>
              <a:gdLst>
                <a:gd name="T0" fmla="*/ 85 w 556"/>
                <a:gd name="T1" fmla="*/ 309 h 318"/>
                <a:gd name="T2" fmla="*/ 130 w 556"/>
                <a:gd name="T3" fmla="*/ 309 h 318"/>
                <a:gd name="T4" fmla="*/ 161 w 556"/>
                <a:gd name="T5" fmla="*/ 318 h 318"/>
                <a:gd name="T6" fmla="*/ 182 w 556"/>
                <a:gd name="T7" fmla="*/ 299 h 318"/>
                <a:gd name="T8" fmla="*/ 203 w 556"/>
                <a:gd name="T9" fmla="*/ 290 h 318"/>
                <a:gd name="T10" fmla="*/ 214 w 556"/>
                <a:gd name="T11" fmla="*/ 290 h 318"/>
                <a:gd name="T12" fmla="*/ 235 w 556"/>
                <a:gd name="T13" fmla="*/ 299 h 318"/>
                <a:gd name="T14" fmla="*/ 246 w 556"/>
                <a:gd name="T15" fmla="*/ 309 h 318"/>
                <a:gd name="T16" fmla="*/ 277 w 556"/>
                <a:gd name="T17" fmla="*/ 299 h 318"/>
                <a:gd name="T18" fmla="*/ 310 w 556"/>
                <a:gd name="T19" fmla="*/ 299 h 318"/>
                <a:gd name="T20" fmla="*/ 342 w 556"/>
                <a:gd name="T21" fmla="*/ 290 h 318"/>
                <a:gd name="T22" fmla="*/ 375 w 556"/>
                <a:gd name="T23" fmla="*/ 279 h 318"/>
                <a:gd name="T24" fmla="*/ 364 w 556"/>
                <a:gd name="T25" fmla="*/ 260 h 318"/>
                <a:gd name="T26" fmla="*/ 385 w 556"/>
                <a:gd name="T27" fmla="*/ 260 h 318"/>
                <a:gd name="T28" fmla="*/ 398 w 556"/>
                <a:gd name="T29" fmla="*/ 251 h 318"/>
                <a:gd name="T30" fmla="*/ 414 w 556"/>
                <a:gd name="T31" fmla="*/ 233 h 318"/>
                <a:gd name="T32" fmla="*/ 426 w 556"/>
                <a:gd name="T33" fmla="*/ 222 h 318"/>
                <a:gd name="T34" fmla="*/ 449 w 556"/>
                <a:gd name="T35" fmla="*/ 222 h 318"/>
                <a:gd name="T36" fmla="*/ 460 w 556"/>
                <a:gd name="T37" fmla="*/ 232 h 318"/>
                <a:gd name="T38" fmla="*/ 491 w 556"/>
                <a:gd name="T39" fmla="*/ 232 h 318"/>
                <a:gd name="T40" fmla="*/ 523 w 556"/>
                <a:gd name="T41" fmla="*/ 222 h 318"/>
                <a:gd name="T42" fmla="*/ 512 w 556"/>
                <a:gd name="T43" fmla="*/ 202 h 318"/>
                <a:gd name="T44" fmla="*/ 501 w 556"/>
                <a:gd name="T45" fmla="*/ 184 h 318"/>
                <a:gd name="T46" fmla="*/ 469 w 556"/>
                <a:gd name="T47" fmla="*/ 193 h 318"/>
                <a:gd name="T48" fmla="*/ 469 w 556"/>
                <a:gd name="T49" fmla="*/ 165 h 318"/>
                <a:gd name="T50" fmla="*/ 491 w 556"/>
                <a:gd name="T51" fmla="*/ 154 h 318"/>
                <a:gd name="T52" fmla="*/ 501 w 556"/>
                <a:gd name="T53" fmla="*/ 134 h 318"/>
                <a:gd name="T54" fmla="*/ 491 w 556"/>
                <a:gd name="T55" fmla="*/ 107 h 318"/>
                <a:gd name="T56" fmla="*/ 501 w 556"/>
                <a:gd name="T57" fmla="*/ 86 h 318"/>
                <a:gd name="T58" fmla="*/ 523 w 556"/>
                <a:gd name="T59" fmla="*/ 68 h 318"/>
                <a:gd name="T60" fmla="*/ 556 w 556"/>
                <a:gd name="T61" fmla="*/ 58 h 318"/>
                <a:gd name="T62" fmla="*/ 544 w 556"/>
                <a:gd name="T63" fmla="*/ 30 h 318"/>
                <a:gd name="T64" fmla="*/ 489 w 556"/>
                <a:gd name="T65" fmla="*/ 12 h 318"/>
                <a:gd name="T66" fmla="*/ 471 w 556"/>
                <a:gd name="T67" fmla="*/ 12 h 318"/>
                <a:gd name="T68" fmla="*/ 438 w 556"/>
                <a:gd name="T69" fmla="*/ 11 h 318"/>
                <a:gd name="T70" fmla="*/ 406 w 556"/>
                <a:gd name="T71" fmla="*/ 11 h 318"/>
                <a:gd name="T72" fmla="*/ 352 w 556"/>
                <a:gd name="T73" fmla="*/ 11 h 318"/>
                <a:gd name="T74" fmla="*/ 321 w 556"/>
                <a:gd name="T75" fmla="*/ 38 h 318"/>
                <a:gd name="T76" fmla="*/ 277 w 556"/>
                <a:gd name="T77" fmla="*/ 68 h 318"/>
                <a:gd name="T78" fmla="*/ 246 w 556"/>
                <a:gd name="T79" fmla="*/ 76 h 318"/>
                <a:gd name="T80" fmla="*/ 214 w 556"/>
                <a:gd name="T81" fmla="*/ 68 h 318"/>
                <a:gd name="T82" fmla="*/ 182 w 556"/>
                <a:gd name="T83" fmla="*/ 68 h 318"/>
                <a:gd name="T84" fmla="*/ 139 w 556"/>
                <a:gd name="T85" fmla="*/ 68 h 318"/>
                <a:gd name="T86" fmla="*/ 108 w 556"/>
                <a:gd name="T87" fmla="*/ 58 h 318"/>
                <a:gd name="T88" fmla="*/ 63 w 556"/>
                <a:gd name="T89" fmla="*/ 58 h 318"/>
                <a:gd name="T90" fmla="*/ 53 w 556"/>
                <a:gd name="T91" fmla="*/ 38 h 318"/>
                <a:gd name="T92" fmla="*/ 33 w 556"/>
                <a:gd name="T93" fmla="*/ 18 h 318"/>
                <a:gd name="T94" fmla="*/ 21 w 556"/>
                <a:gd name="T95" fmla="*/ 38 h 318"/>
                <a:gd name="T96" fmla="*/ 0 w 556"/>
                <a:gd name="T97" fmla="*/ 48 h 318"/>
                <a:gd name="T98" fmla="*/ 12 w 556"/>
                <a:gd name="T99" fmla="*/ 86 h 318"/>
                <a:gd name="T100" fmla="*/ 21 w 556"/>
                <a:gd name="T101" fmla="*/ 107 h 318"/>
                <a:gd name="T102" fmla="*/ 43 w 556"/>
                <a:gd name="T103" fmla="*/ 107 h 318"/>
                <a:gd name="T104" fmla="*/ 43 w 556"/>
                <a:gd name="T105" fmla="*/ 125 h 318"/>
                <a:gd name="T106" fmla="*/ 21 w 556"/>
                <a:gd name="T107" fmla="*/ 145 h 318"/>
                <a:gd name="T108" fmla="*/ 21 w 556"/>
                <a:gd name="T109" fmla="*/ 173 h 318"/>
                <a:gd name="T110" fmla="*/ 12 w 556"/>
                <a:gd name="T111" fmla="*/ 193 h 318"/>
                <a:gd name="T112" fmla="*/ 12 w 556"/>
                <a:gd name="T113" fmla="*/ 222 h 318"/>
                <a:gd name="T114" fmla="*/ 43 w 556"/>
                <a:gd name="T115" fmla="*/ 241 h 318"/>
                <a:gd name="T116" fmla="*/ 63 w 556"/>
                <a:gd name="T117" fmla="*/ 260 h 318"/>
                <a:gd name="T118" fmla="*/ 75 w 556"/>
                <a:gd name="T119" fmla="*/ 279 h 318"/>
                <a:gd name="T120" fmla="*/ 63 w 556"/>
                <a:gd name="T121" fmla="*/ 299 h 318"/>
                <a:gd name="T122" fmla="*/ 63 w 556"/>
                <a:gd name="T123" fmla="*/ 309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6" h="318">
                  <a:moveTo>
                    <a:pt x="63" y="309"/>
                  </a:moveTo>
                  <a:lnTo>
                    <a:pt x="85" y="309"/>
                  </a:lnTo>
                  <a:lnTo>
                    <a:pt x="108" y="309"/>
                  </a:lnTo>
                  <a:lnTo>
                    <a:pt x="130" y="309"/>
                  </a:lnTo>
                  <a:lnTo>
                    <a:pt x="150" y="309"/>
                  </a:lnTo>
                  <a:lnTo>
                    <a:pt x="161" y="318"/>
                  </a:lnTo>
                  <a:lnTo>
                    <a:pt x="182" y="309"/>
                  </a:lnTo>
                  <a:lnTo>
                    <a:pt x="182" y="299"/>
                  </a:lnTo>
                  <a:lnTo>
                    <a:pt x="192" y="299"/>
                  </a:lnTo>
                  <a:lnTo>
                    <a:pt x="203" y="290"/>
                  </a:lnTo>
                  <a:lnTo>
                    <a:pt x="214" y="299"/>
                  </a:lnTo>
                  <a:lnTo>
                    <a:pt x="214" y="290"/>
                  </a:lnTo>
                  <a:lnTo>
                    <a:pt x="226" y="290"/>
                  </a:lnTo>
                  <a:lnTo>
                    <a:pt x="235" y="299"/>
                  </a:lnTo>
                  <a:lnTo>
                    <a:pt x="246" y="299"/>
                  </a:lnTo>
                  <a:lnTo>
                    <a:pt x="246" y="309"/>
                  </a:lnTo>
                  <a:lnTo>
                    <a:pt x="269" y="299"/>
                  </a:lnTo>
                  <a:lnTo>
                    <a:pt x="277" y="299"/>
                  </a:lnTo>
                  <a:lnTo>
                    <a:pt x="289" y="299"/>
                  </a:lnTo>
                  <a:lnTo>
                    <a:pt x="310" y="299"/>
                  </a:lnTo>
                  <a:lnTo>
                    <a:pt x="321" y="290"/>
                  </a:lnTo>
                  <a:lnTo>
                    <a:pt x="342" y="290"/>
                  </a:lnTo>
                  <a:lnTo>
                    <a:pt x="364" y="290"/>
                  </a:lnTo>
                  <a:lnTo>
                    <a:pt x="375" y="279"/>
                  </a:lnTo>
                  <a:lnTo>
                    <a:pt x="364" y="270"/>
                  </a:lnTo>
                  <a:lnTo>
                    <a:pt x="364" y="260"/>
                  </a:lnTo>
                  <a:lnTo>
                    <a:pt x="375" y="260"/>
                  </a:lnTo>
                  <a:lnTo>
                    <a:pt x="385" y="260"/>
                  </a:lnTo>
                  <a:lnTo>
                    <a:pt x="388" y="255"/>
                  </a:lnTo>
                  <a:lnTo>
                    <a:pt x="398" y="251"/>
                  </a:lnTo>
                  <a:lnTo>
                    <a:pt x="403" y="233"/>
                  </a:lnTo>
                  <a:lnTo>
                    <a:pt x="414" y="233"/>
                  </a:lnTo>
                  <a:lnTo>
                    <a:pt x="416" y="232"/>
                  </a:lnTo>
                  <a:lnTo>
                    <a:pt x="426" y="222"/>
                  </a:lnTo>
                  <a:lnTo>
                    <a:pt x="438" y="222"/>
                  </a:lnTo>
                  <a:lnTo>
                    <a:pt x="449" y="222"/>
                  </a:lnTo>
                  <a:lnTo>
                    <a:pt x="460" y="222"/>
                  </a:lnTo>
                  <a:lnTo>
                    <a:pt x="460" y="232"/>
                  </a:lnTo>
                  <a:lnTo>
                    <a:pt x="469" y="232"/>
                  </a:lnTo>
                  <a:lnTo>
                    <a:pt x="491" y="232"/>
                  </a:lnTo>
                  <a:lnTo>
                    <a:pt x="523" y="232"/>
                  </a:lnTo>
                  <a:lnTo>
                    <a:pt x="523" y="222"/>
                  </a:lnTo>
                  <a:lnTo>
                    <a:pt x="523" y="202"/>
                  </a:lnTo>
                  <a:lnTo>
                    <a:pt x="512" y="202"/>
                  </a:lnTo>
                  <a:lnTo>
                    <a:pt x="501" y="193"/>
                  </a:lnTo>
                  <a:lnTo>
                    <a:pt x="501" y="184"/>
                  </a:lnTo>
                  <a:lnTo>
                    <a:pt x="481" y="184"/>
                  </a:lnTo>
                  <a:lnTo>
                    <a:pt x="469" y="193"/>
                  </a:lnTo>
                  <a:lnTo>
                    <a:pt x="469" y="173"/>
                  </a:lnTo>
                  <a:lnTo>
                    <a:pt x="469" y="165"/>
                  </a:lnTo>
                  <a:lnTo>
                    <a:pt x="481" y="154"/>
                  </a:lnTo>
                  <a:lnTo>
                    <a:pt x="491" y="154"/>
                  </a:lnTo>
                  <a:lnTo>
                    <a:pt x="491" y="145"/>
                  </a:lnTo>
                  <a:lnTo>
                    <a:pt x="501" y="134"/>
                  </a:lnTo>
                  <a:lnTo>
                    <a:pt x="491" y="125"/>
                  </a:lnTo>
                  <a:lnTo>
                    <a:pt x="491" y="107"/>
                  </a:lnTo>
                  <a:lnTo>
                    <a:pt x="501" y="107"/>
                  </a:lnTo>
                  <a:lnTo>
                    <a:pt x="501" y="86"/>
                  </a:lnTo>
                  <a:lnTo>
                    <a:pt x="501" y="68"/>
                  </a:lnTo>
                  <a:lnTo>
                    <a:pt x="523" y="68"/>
                  </a:lnTo>
                  <a:lnTo>
                    <a:pt x="544" y="68"/>
                  </a:lnTo>
                  <a:lnTo>
                    <a:pt x="556" y="58"/>
                  </a:lnTo>
                  <a:lnTo>
                    <a:pt x="544" y="33"/>
                  </a:lnTo>
                  <a:lnTo>
                    <a:pt x="544" y="30"/>
                  </a:lnTo>
                  <a:lnTo>
                    <a:pt x="501" y="15"/>
                  </a:lnTo>
                  <a:lnTo>
                    <a:pt x="489" y="12"/>
                  </a:lnTo>
                  <a:lnTo>
                    <a:pt x="483" y="12"/>
                  </a:lnTo>
                  <a:lnTo>
                    <a:pt x="471" y="12"/>
                  </a:lnTo>
                  <a:lnTo>
                    <a:pt x="448" y="15"/>
                  </a:lnTo>
                  <a:lnTo>
                    <a:pt x="438" y="11"/>
                  </a:lnTo>
                  <a:lnTo>
                    <a:pt x="416" y="11"/>
                  </a:lnTo>
                  <a:lnTo>
                    <a:pt x="406" y="11"/>
                  </a:lnTo>
                  <a:lnTo>
                    <a:pt x="395" y="0"/>
                  </a:lnTo>
                  <a:lnTo>
                    <a:pt x="352" y="11"/>
                  </a:lnTo>
                  <a:lnTo>
                    <a:pt x="342" y="18"/>
                  </a:lnTo>
                  <a:lnTo>
                    <a:pt x="321" y="38"/>
                  </a:lnTo>
                  <a:lnTo>
                    <a:pt x="298" y="58"/>
                  </a:lnTo>
                  <a:lnTo>
                    <a:pt x="277" y="68"/>
                  </a:lnTo>
                  <a:lnTo>
                    <a:pt x="269" y="76"/>
                  </a:lnTo>
                  <a:lnTo>
                    <a:pt x="246" y="76"/>
                  </a:lnTo>
                  <a:lnTo>
                    <a:pt x="226" y="68"/>
                  </a:lnTo>
                  <a:lnTo>
                    <a:pt x="214" y="68"/>
                  </a:lnTo>
                  <a:lnTo>
                    <a:pt x="192" y="68"/>
                  </a:lnTo>
                  <a:lnTo>
                    <a:pt x="182" y="68"/>
                  </a:lnTo>
                  <a:lnTo>
                    <a:pt x="161" y="68"/>
                  </a:lnTo>
                  <a:lnTo>
                    <a:pt x="139" y="68"/>
                  </a:lnTo>
                  <a:lnTo>
                    <a:pt x="130" y="58"/>
                  </a:lnTo>
                  <a:lnTo>
                    <a:pt x="108" y="58"/>
                  </a:lnTo>
                  <a:lnTo>
                    <a:pt x="85" y="58"/>
                  </a:lnTo>
                  <a:lnTo>
                    <a:pt x="63" y="58"/>
                  </a:lnTo>
                  <a:lnTo>
                    <a:pt x="53" y="48"/>
                  </a:lnTo>
                  <a:lnTo>
                    <a:pt x="53" y="38"/>
                  </a:lnTo>
                  <a:lnTo>
                    <a:pt x="53" y="18"/>
                  </a:lnTo>
                  <a:lnTo>
                    <a:pt x="33" y="18"/>
                  </a:lnTo>
                  <a:lnTo>
                    <a:pt x="43" y="18"/>
                  </a:lnTo>
                  <a:lnTo>
                    <a:pt x="21" y="38"/>
                  </a:lnTo>
                  <a:lnTo>
                    <a:pt x="12" y="48"/>
                  </a:lnTo>
                  <a:lnTo>
                    <a:pt x="0" y="48"/>
                  </a:lnTo>
                  <a:lnTo>
                    <a:pt x="12" y="68"/>
                  </a:lnTo>
                  <a:lnTo>
                    <a:pt x="12" y="86"/>
                  </a:lnTo>
                  <a:lnTo>
                    <a:pt x="21" y="95"/>
                  </a:lnTo>
                  <a:lnTo>
                    <a:pt x="21" y="107"/>
                  </a:lnTo>
                  <a:lnTo>
                    <a:pt x="33" y="107"/>
                  </a:lnTo>
                  <a:lnTo>
                    <a:pt x="43" y="107"/>
                  </a:lnTo>
                  <a:lnTo>
                    <a:pt x="53" y="116"/>
                  </a:lnTo>
                  <a:lnTo>
                    <a:pt x="43" y="125"/>
                  </a:lnTo>
                  <a:lnTo>
                    <a:pt x="43" y="134"/>
                  </a:lnTo>
                  <a:lnTo>
                    <a:pt x="21" y="145"/>
                  </a:lnTo>
                  <a:lnTo>
                    <a:pt x="21" y="154"/>
                  </a:lnTo>
                  <a:lnTo>
                    <a:pt x="21" y="173"/>
                  </a:lnTo>
                  <a:lnTo>
                    <a:pt x="12" y="173"/>
                  </a:lnTo>
                  <a:lnTo>
                    <a:pt x="12" y="193"/>
                  </a:lnTo>
                  <a:lnTo>
                    <a:pt x="12" y="202"/>
                  </a:lnTo>
                  <a:lnTo>
                    <a:pt x="12" y="222"/>
                  </a:lnTo>
                  <a:lnTo>
                    <a:pt x="33" y="232"/>
                  </a:lnTo>
                  <a:lnTo>
                    <a:pt x="43" y="241"/>
                  </a:lnTo>
                  <a:lnTo>
                    <a:pt x="53" y="251"/>
                  </a:lnTo>
                  <a:lnTo>
                    <a:pt x="63" y="260"/>
                  </a:lnTo>
                  <a:lnTo>
                    <a:pt x="75" y="270"/>
                  </a:lnTo>
                  <a:lnTo>
                    <a:pt x="75" y="279"/>
                  </a:lnTo>
                  <a:lnTo>
                    <a:pt x="75" y="290"/>
                  </a:lnTo>
                  <a:lnTo>
                    <a:pt x="63" y="299"/>
                  </a:lnTo>
                  <a:lnTo>
                    <a:pt x="63" y="309"/>
                  </a:lnTo>
                  <a:lnTo>
                    <a:pt x="63" y="309"/>
                  </a:lnTo>
                  <a:close/>
                </a:path>
              </a:pathLst>
            </a:custGeom>
            <a:solidFill>
              <a:srgbClr val="FF0000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FFFF"/>
                </a:solidFill>
              </a:endParaRPr>
            </a:p>
          </p:txBody>
        </p:sp>
        <p:sp>
          <p:nvSpPr>
            <p:cNvPr id="228" name="Freeform 8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084763" y="4762501"/>
              <a:ext cx="546100" cy="577850"/>
            </a:xfrm>
            <a:custGeom>
              <a:avLst/>
              <a:gdLst>
                <a:gd name="T0" fmla="*/ 58 w 414"/>
                <a:gd name="T1" fmla="*/ 420 h 474"/>
                <a:gd name="T2" fmla="*/ 118 w 414"/>
                <a:gd name="T3" fmla="*/ 474 h 474"/>
                <a:gd name="T4" fmla="*/ 129 w 414"/>
                <a:gd name="T5" fmla="*/ 405 h 474"/>
                <a:gd name="T6" fmla="*/ 150 w 414"/>
                <a:gd name="T7" fmla="*/ 399 h 474"/>
                <a:gd name="T8" fmla="*/ 187 w 414"/>
                <a:gd name="T9" fmla="*/ 407 h 474"/>
                <a:gd name="T10" fmla="*/ 211 w 414"/>
                <a:gd name="T11" fmla="*/ 425 h 474"/>
                <a:gd name="T12" fmla="*/ 208 w 414"/>
                <a:gd name="T13" fmla="*/ 450 h 474"/>
                <a:gd name="T14" fmla="*/ 247 w 414"/>
                <a:gd name="T15" fmla="*/ 447 h 474"/>
                <a:gd name="T16" fmla="*/ 285 w 414"/>
                <a:gd name="T17" fmla="*/ 438 h 474"/>
                <a:gd name="T18" fmla="*/ 337 w 414"/>
                <a:gd name="T19" fmla="*/ 434 h 474"/>
                <a:gd name="T20" fmla="*/ 373 w 414"/>
                <a:gd name="T21" fmla="*/ 404 h 474"/>
                <a:gd name="T22" fmla="*/ 382 w 414"/>
                <a:gd name="T23" fmla="*/ 356 h 474"/>
                <a:gd name="T24" fmla="*/ 403 w 414"/>
                <a:gd name="T25" fmla="*/ 320 h 474"/>
                <a:gd name="T26" fmla="*/ 397 w 414"/>
                <a:gd name="T27" fmla="*/ 288 h 474"/>
                <a:gd name="T28" fmla="*/ 375 w 414"/>
                <a:gd name="T29" fmla="*/ 276 h 474"/>
                <a:gd name="T30" fmla="*/ 381 w 414"/>
                <a:gd name="T31" fmla="*/ 224 h 474"/>
                <a:gd name="T32" fmla="*/ 393 w 414"/>
                <a:gd name="T33" fmla="*/ 186 h 474"/>
                <a:gd name="T34" fmla="*/ 394 w 414"/>
                <a:gd name="T35" fmla="*/ 161 h 474"/>
                <a:gd name="T36" fmla="*/ 358 w 414"/>
                <a:gd name="T37" fmla="*/ 159 h 474"/>
                <a:gd name="T38" fmla="*/ 325 w 414"/>
                <a:gd name="T39" fmla="*/ 159 h 474"/>
                <a:gd name="T40" fmla="*/ 277 w 414"/>
                <a:gd name="T41" fmla="*/ 153 h 474"/>
                <a:gd name="T42" fmla="*/ 286 w 414"/>
                <a:gd name="T43" fmla="*/ 126 h 474"/>
                <a:gd name="T44" fmla="*/ 268 w 414"/>
                <a:gd name="T45" fmla="*/ 101 h 474"/>
                <a:gd name="T46" fmla="*/ 241 w 414"/>
                <a:gd name="T47" fmla="*/ 93 h 474"/>
                <a:gd name="T48" fmla="*/ 231 w 414"/>
                <a:gd name="T49" fmla="*/ 69 h 474"/>
                <a:gd name="T50" fmla="*/ 217 w 414"/>
                <a:gd name="T51" fmla="*/ 26 h 474"/>
                <a:gd name="T52" fmla="*/ 193 w 414"/>
                <a:gd name="T53" fmla="*/ 9 h 474"/>
                <a:gd name="T54" fmla="*/ 168 w 414"/>
                <a:gd name="T55" fmla="*/ 0 h 474"/>
                <a:gd name="T56" fmla="*/ 142 w 414"/>
                <a:gd name="T57" fmla="*/ 18 h 474"/>
                <a:gd name="T58" fmla="*/ 120 w 414"/>
                <a:gd name="T59" fmla="*/ 8 h 474"/>
                <a:gd name="T60" fmla="*/ 88 w 414"/>
                <a:gd name="T61" fmla="*/ 24 h 474"/>
                <a:gd name="T62" fmla="*/ 57 w 414"/>
                <a:gd name="T63" fmla="*/ 27 h 474"/>
                <a:gd name="T64" fmla="*/ 58 w 414"/>
                <a:gd name="T65" fmla="*/ 57 h 474"/>
                <a:gd name="T66" fmla="*/ 73 w 414"/>
                <a:gd name="T67" fmla="*/ 99 h 474"/>
                <a:gd name="T68" fmla="*/ 84 w 414"/>
                <a:gd name="T69" fmla="*/ 129 h 474"/>
                <a:gd name="T70" fmla="*/ 73 w 414"/>
                <a:gd name="T71" fmla="*/ 161 h 474"/>
                <a:gd name="T72" fmla="*/ 93 w 414"/>
                <a:gd name="T73" fmla="*/ 195 h 474"/>
                <a:gd name="T74" fmla="*/ 91 w 414"/>
                <a:gd name="T75" fmla="*/ 219 h 474"/>
                <a:gd name="T76" fmla="*/ 121 w 414"/>
                <a:gd name="T77" fmla="*/ 275 h 474"/>
                <a:gd name="T78" fmla="*/ 94 w 414"/>
                <a:gd name="T79" fmla="*/ 291 h 474"/>
                <a:gd name="T80" fmla="*/ 75 w 414"/>
                <a:gd name="T81" fmla="*/ 312 h 474"/>
                <a:gd name="T82" fmla="*/ 43 w 414"/>
                <a:gd name="T83" fmla="*/ 341 h 474"/>
                <a:gd name="T84" fmla="*/ 25 w 414"/>
                <a:gd name="T85" fmla="*/ 366 h 474"/>
                <a:gd name="T86" fmla="*/ 0 w 414"/>
                <a:gd name="T87" fmla="*/ 395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14" h="474">
                  <a:moveTo>
                    <a:pt x="27" y="404"/>
                  </a:moveTo>
                  <a:lnTo>
                    <a:pt x="58" y="420"/>
                  </a:lnTo>
                  <a:lnTo>
                    <a:pt x="85" y="443"/>
                  </a:lnTo>
                  <a:lnTo>
                    <a:pt x="118" y="474"/>
                  </a:lnTo>
                  <a:lnTo>
                    <a:pt x="129" y="455"/>
                  </a:lnTo>
                  <a:lnTo>
                    <a:pt x="129" y="405"/>
                  </a:lnTo>
                  <a:lnTo>
                    <a:pt x="138" y="399"/>
                  </a:lnTo>
                  <a:lnTo>
                    <a:pt x="150" y="399"/>
                  </a:lnTo>
                  <a:lnTo>
                    <a:pt x="165" y="390"/>
                  </a:lnTo>
                  <a:lnTo>
                    <a:pt x="187" y="407"/>
                  </a:lnTo>
                  <a:lnTo>
                    <a:pt x="207" y="408"/>
                  </a:lnTo>
                  <a:lnTo>
                    <a:pt x="211" y="425"/>
                  </a:lnTo>
                  <a:lnTo>
                    <a:pt x="217" y="435"/>
                  </a:lnTo>
                  <a:lnTo>
                    <a:pt x="208" y="450"/>
                  </a:lnTo>
                  <a:lnTo>
                    <a:pt x="217" y="456"/>
                  </a:lnTo>
                  <a:lnTo>
                    <a:pt x="247" y="447"/>
                  </a:lnTo>
                  <a:lnTo>
                    <a:pt x="256" y="440"/>
                  </a:lnTo>
                  <a:lnTo>
                    <a:pt x="285" y="438"/>
                  </a:lnTo>
                  <a:lnTo>
                    <a:pt x="312" y="431"/>
                  </a:lnTo>
                  <a:lnTo>
                    <a:pt x="337" y="434"/>
                  </a:lnTo>
                  <a:lnTo>
                    <a:pt x="370" y="423"/>
                  </a:lnTo>
                  <a:lnTo>
                    <a:pt x="373" y="404"/>
                  </a:lnTo>
                  <a:lnTo>
                    <a:pt x="367" y="365"/>
                  </a:lnTo>
                  <a:lnTo>
                    <a:pt x="382" y="356"/>
                  </a:lnTo>
                  <a:lnTo>
                    <a:pt x="382" y="333"/>
                  </a:lnTo>
                  <a:lnTo>
                    <a:pt x="403" y="320"/>
                  </a:lnTo>
                  <a:lnTo>
                    <a:pt x="414" y="297"/>
                  </a:lnTo>
                  <a:lnTo>
                    <a:pt x="397" y="288"/>
                  </a:lnTo>
                  <a:lnTo>
                    <a:pt x="378" y="288"/>
                  </a:lnTo>
                  <a:lnTo>
                    <a:pt x="375" y="276"/>
                  </a:lnTo>
                  <a:lnTo>
                    <a:pt x="364" y="242"/>
                  </a:lnTo>
                  <a:lnTo>
                    <a:pt x="381" y="224"/>
                  </a:lnTo>
                  <a:lnTo>
                    <a:pt x="397" y="210"/>
                  </a:lnTo>
                  <a:lnTo>
                    <a:pt x="393" y="186"/>
                  </a:lnTo>
                  <a:lnTo>
                    <a:pt x="382" y="182"/>
                  </a:lnTo>
                  <a:lnTo>
                    <a:pt x="394" y="161"/>
                  </a:lnTo>
                  <a:lnTo>
                    <a:pt x="378" y="153"/>
                  </a:lnTo>
                  <a:lnTo>
                    <a:pt x="358" y="159"/>
                  </a:lnTo>
                  <a:lnTo>
                    <a:pt x="348" y="170"/>
                  </a:lnTo>
                  <a:lnTo>
                    <a:pt x="325" y="159"/>
                  </a:lnTo>
                  <a:lnTo>
                    <a:pt x="315" y="152"/>
                  </a:lnTo>
                  <a:lnTo>
                    <a:pt x="277" y="153"/>
                  </a:lnTo>
                  <a:lnTo>
                    <a:pt x="273" y="140"/>
                  </a:lnTo>
                  <a:lnTo>
                    <a:pt x="286" y="126"/>
                  </a:lnTo>
                  <a:lnTo>
                    <a:pt x="286" y="114"/>
                  </a:lnTo>
                  <a:lnTo>
                    <a:pt x="268" y="101"/>
                  </a:lnTo>
                  <a:lnTo>
                    <a:pt x="258" y="93"/>
                  </a:lnTo>
                  <a:lnTo>
                    <a:pt x="241" y="93"/>
                  </a:lnTo>
                  <a:lnTo>
                    <a:pt x="241" y="74"/>
                  </a:lnTo>
                  <a:lnTo>
                    <a:pt x="231" y="69"/>
                  </a:lnTo>
                  <a:lnTo>
                    <a:pt x="231" y="27"/>
                  </a:lnTo>
                  <a:lnTo>
                    <a:pt x="217" y="26"/>
                  </a:lnTo>
                  <a:lnTo>
                    <a:pt x="219" y="9"/>
                  </a:lnTo>
                  <a:lnTo>
                    <a:pt x="193" y="9"/>
                  </a:lnTo>
                  <a:lnTo>
                    <a:pt x="181" y="2"/>
                  </a:lnTo>
                  <a:lnTo>
                    <a:pt x="168" y="0"/>
                  </a:lnTo>
                  <a:lnTo>
                    <a:pt x="159" y="12"/>
                  </a:lnTo>
                  <a:lnTo>
                    <a:pt x="142" y="18"/>
                  </a:lnTo>
                  <a:lnTo>
                    <a:pt x="130" y="12"/>
                  </a:lnTo>
                  <a:lnTo>
                    <a:pt x="120" y="8"/>
                  </a:lnTo>
                  <a:lnTo>
                    <a:pt x="102" y="18"/>
                  </a:lnTo>
                  <a:lnTo>
                    <a:pt x="88" y="24"/>
                  </a:lnTo>
                  <a:lnTo>
                    <a:pt x="70" y="26"/>
                  </a:lnTo>
                  <a:lnTo>
                    <a:pt x="57" y="27"/>
                  </a:lnTo>
                  <a:lnTo>
                    <a:pt x="46" y="36"/>
                  </a:lnTo>
                  <a:lnTo>
                    <a:pt x="58" y="57"/>
                  </a:lnTo>
                  <a:lnTo>
                    <a:pt x="66" y="77"/>
                  </a:lnTo>
                  <a:lnTo>
                    <a:pt x="73" y="99"/>
                  </a:lnTo>
                  <a:lnTo>
                    <a:pt x="109" y="111"/>
                  </a:lnTo>
                  <a:lnTo>
                    <a:pt x="84" y="129"/>
                  </a:lnTo>
                  <a:lnTo>
                    <a:pt x="81" y="146"/>
                  </a:lnTo>
                  <a:lnTo>
                    <a:pt x="73" y="161"/>
                  </a:lnTo>
                  <a:lnTo>
                    <a:pt x="75" y="188"/>
                  </a:lnTo>
                  <a:lnTo>
                    <a:pt x="93" y="195"/>
                  </a:lnTo>
                  <a:lnTo>
                    <a:pt x="105" y="215"/>
                  </a:lnTo>
                  <a:lnTo>
                    <a:pt x="91" y="219"/>
                  </a:lnTo>
                  <a:lnTo>
                    <a:pt x="99" y="252"/>
                  </a:lnTo>
                  <a:cubicBezTo>
                    <a:pt x="106" y="260"/>
                    <a:pt x="121" y="275"/>
                    <a:pt x="121" y="275"/>
                  </a:cubicBezTo>
                  <a:cubicBezTo>
                    <a:pt x="120" y="274"/>
                    <a:pt x="119" y="274"/>
                    <a:pt x="118" y="273"/>
                  </a:cubicBezTo>
                  <a:lnTo>
                    <a:pt x="94" y="291"/>
                  </a:lnTo>
                  <a:lnTo>
                    <a:pt x="67" y="282"/>
                  </a:lnTo>
                  <a:lnTo>
                    <a:pt x="75" y="312"/>
                  </a:lnTo>
                  <a:lnTo>
                    <a:pt x="60" y="309"/>
                  </a:lnTo>
                  <a:lnTo>
                    <a:pt x="43" y="341"/>
                  </a:lnTo>
                  <a:lnTo>
                    <a:pt x="27" y="347"/>
                  </a:lnTo>
                  <a:lnTo>
                    <a:pt x="25" y="366"/>
                  </a:lnTo>
                  <a:lnTo>
                    <a:pt x="42" y="383"/>
                  </a:lnTo>
                  <a:lnTo>
                    <a:pt x="0" y="395"/>
                  </a:lnTo>
                  <a:lnTo>
                    <a:pt x="27" y="404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 wrap="none" lIns="90000" tIns="46800" rIns="90000" bIns="46800" anchor="ctr"/>
            <a:lstStyle/>
            <a:p>
              <a:endParaRPr lang="de-DE" dirty="0"/>
            </a:p>
          </p:txBody>
        </p:sp>
        <p:sp>
          <p:nvSpPr>
            <p:cNvPr id="229" name="Freeform 9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237163" y="5233988"/>
              <a:ext cx="196850" cy="350838"/>
            </a:xfrm>
            <a:custGeom>
              <a:avLst/>
              <a:gdLst>
                <a:gd name="T0" fmla="*/ 202 w 202"/>
                <a:gd name="T1" fmla="*/ 273 h 432"/>
                <a:gd name="T2" fmla="*/ 202 w 202"/>
                <a:gd name="T3" fmla="*/ 302 h 432"/>
                <a:gd name="T4" fmla="*/ 173 w 202"/>
                <a:gd name="T5" fmla="*/ 347 h 432"/>
                <a:gd name="T6" fmla="*/ 144 w 202"/>
                <a:gd name="T7" fmla="*/ 359 h 432"/>
                <a:gd name="T8" fmla="*/ 130 w 202"/>
                <a:gd name="T9" fmla="*/ 388 h 432"/>
                <a:gd name="T10" fmla="*/ 101 w 202"/>
                <a:gd name="T11" fmla="*/ 403 h 432"/>
                <a:gd name="T12" fmla="*/ 101 w 202"/>
                <a:gd name="T13" fmla="*/ 432 h 432"/>
                <a:gd name="T14" fmla="*/ 72 w 202"/>
                <a:gd name="T15" fmla="*/ 403 h 432"/>
                <a:gd name="T16" fmla="*/ 43 w 202"/>
                <a:gd name="T17" fmla="*/ 388 h 432"/>
                <a:gd name="T18" fmla="*/ 0 w 202"/>
                <a:gd name="T19" fmla="*/ 374 h 432"/>
                <a:gd name="T20" fmla="*/ 14 w 202"/>
                <a:gd name="T21" fmla="*/ 347 h 432"/>
                <a:gd name="T22" fmla="*/ 0 w 202"/>
                <a:gd name="T23" fmla="*/ 332 h 432"/>
                <a:gd name="T24" fmla="*/ 14 w 202"/>
                <a:gd name="T25" fmla="*/ 302 h 432"/>
                <a:gd name="T26" fmla="*/ 0 w 202"/>
                <a:gd name="T27" fmla="*/ 273 h 432"/>
                <a:gd name="T28" fmla="*/ 14 w 202"/>
                <a:gd name="T29" fmla="*/ 246 h 432"/>
                <a:gd name="T30" fmla="*/ 14 w 202"/>
                <a:gd name="T31" fmla="*/ 202 h 432"/>
                <a:gd name="T32" fmla="*/ 14 w 202"/>
                <a:gd name="T33" fmla="*/ 172 h 432"/>
                <a:gd name="T34" fmla="*/ 14 w 202"/>
                <a:gd name="T35" fmla="*/ 143 h 432"/>
                <a:gd name="T36" fmla="*/ 29 w 202"/>
                <a:gd name="T37" fmla="*/ 130 h 432"/>
                <a:gd name="T38" fmla="*/ 14 w 202"/>
                <a:gd name="T39" fmla="*/ 101 h 432"/>
                <a:gd name="T40" fmla="*/ 14 w 202"/>
                <a:gd name="T41" fmla="*/ 58 h 432"/>
                <a:gd name="T42" fmla="*/ 14 w 202"/>
                <a:gd name="T43" fmla="*/ 29 h 432"/>
                <a:gd name="T44" fmla="*/ 43 w 202"/>
                <a:gd name="T45" fmla="*/ 15 h 432"/>
                <a:gd name="T46" fmla="*/ 85 w 202"/>
                <a:gd name="T47" fmla="*/ 15 h 432"/>
                <a:gd name="T48" fmla="*/ 130 w 202"/>
                <a:gd name="T49" fmla="*/ 29 h 432"/>
                <a:gd name="T50" fmla="*/ 144 w 202"/>
                <a:gd name="T51" fmla="*/ 74 h 432"/>
                <a:gd name="T52" fmla="*/ 130 w 202"/>
                <a:gd name="T53" fmla="*/ 101 h 432"/>
                <a:gd name="T54" fmla="*/ 130 w 202"/>
                <a:gd name="T55" fmla="*/ 143 h 432"/>
                <a:gd name="T56" fmla="*/ 144 w 202"/>
                <a:gd name="T57" fmla="*/ 172 h 432"/>
                <a:gd name="T58" fmla="*/ 157 w 202"/>
                <a:gd name="T59" fmla="*/ 202 h 432"/>
                <a:gd name="T60" fmla="*/ 173 w 202"/>
                <a:gd name="T61" fmla="*/ 246 h 432"/>
                <a:gd name="T62" fmla="*/ 186 w 202"/>
                <a:gd name="T63" fmla="*/ 26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2" h="432">
                  <a:moveTo>
                    <a:pt x="186" y="260"/>
                  </a:moveTo>
                  <a:lnTo>
                    <a:pt x="202" y="273"/>
                  </a:lnTo>
                  <a:lnTo>
                    <a:pt x="202" y="289"/>
                  </a:lnTo>
                  <a:lnTo>
                    <a:pt x="202" y="302"/>
                  </a:lnTo>
                  <a:lnTo>
                    <a:pt x="186" y="318"/>
                  </a:lnTo>
                  <a:lnTo>
                    <a:pt x="173" y="347"/>
                  </a:lnTo>
                  <a:lnTo>
                    <a:pt x="157" y="359"/>
                  </a:lnTo>
                  <a:lnTo>
                    <a:pt x="144" y="359"/>
                  </a:lnTo>
                  <a:lnTo>
                    <a:pt x="157" y="374"/>
                  </a:lnTo>
                  <a:lnTo>
                    <a:pt x="130" y="388"/>
                  </a:lnTo>
                  <a:lnTo>
                    <a:pt x="115" y="388"/>
                  </a:lnTo>
                  <a:lnTo>
                    <a:pt x="101" y="403"/>
                  </a:lnTo>
                  <a:lnTo>
                    <a:pt x="101" y="417"/>
                  </a:lnTo>
                  <a:lnTo>
                    <a:pt x="101" y="432"/>
                  </a:lnTo>
                  <a:lnTo>
                    <a:pt x="85" y="432"/>
                  </a:lnTo>
                  <a:lnTo>
                    <a:pt x="72" y="403"/>
                  </a:lnTo>
                  <a:lnTo>
                    <a:pt x="72" y="388"/>
                  </a:lnTo>
                  <a:lnTo>
                    <a:pt x="43" y="388"/>
                  </a:lnTo>
                  <a:lnTo>
                    <a:pt x="29" y="374"/>
                  </a:lnTo>
                  <a:lnTo>
                    <a:pt x="0" y="374"/>
                  </a:lnTo>
                  <a:lnTo>
                    <a:pt x="0" y="347"/>
                  </a:lnTo>
                  <a:lnTo>
                    <a:pt x="14" y="347"/>
                  </a:lnTo>
                  <a:lnTo>
                    <a:pt x="14" y="332"/>
                  </a:lnTo>
                  <a:lnTo>
                    <a:pt x="0" y="332"/>
                  </a:lnTo>
                  <a:lnTo>
                    <a:pt x="0" y="318"/>
                  </a:lnTo>
                  <a:lnTo>
                    <a:pt x="14" y="302"/>
                  </a:lnTo>
                  <a:lnTo>
                    <a:pt x="0" y="289"/>
                  </a:lnTo>
                  <a:lnTo>
                    <a:pt x="0" y="273"/>
                  </a:lnTo>
                  <a:lnTo>
                    <a:pt x="0" y="260"/>
                  </a:lnTo>
                  <a:lnTo>
                    <a:pt x="14" y="246"/>
                  </a:lnTo>
                  <a:lnTo>
                    <a:pt x="14" y="215"/>
                  </a:lnTo>
                  <a:lnTo>
                    <a:pt x="14" y="202"/>
                  </a:lnTo>
                  <a:lnTo>
                    <a:pt x="14" y="188"/>
                  </a:lnTo>
                  <a:lnTo>
                    <a:pt x="14" y="172"/>
                  </a:lnTo>
                  <a:lnTo>
                    <a:pt x="14" y="159"/>
                  </a:lnTo>
                  <a:lnTo>
                    <a:pt x="14" y="143"/>
                  </a:lnTo>
                  <a:lnTo>
                    <a:pt x="29" y="143"/>
                  </a:lnTo>
                  <a:lnTo>
                    <a:pt x="29" y="130"/>
                  </a:lnTo>
                  <a:lnTo>
                    <a:pt x="29" y="116"/>
                  </a:lnTo>
                  <a:lnTo>
                    <a:pt x="14" y="101"/>
                  </a:lnTo>
                  <a:lnTo>
                    <a:pt x="14" y="74"/>
                  </a:lnTo>
                  <a:lnTo>
                    <a:pt x="14" y="58"/>
                  </a:lnTo>
                  <a:lnTo>
                    <a:pt x="14" y="45"/>
                  </a:lnTo>
                  <a:lnTo>
                    <a:pt x="14" y="29"/>
                  </a:lnTo>
                  <a:lnTo>
                    <a:pt x="29" y="15"/>
                  </a:lnTo>
                  <a:lnTo>
                    <a:pt x="43" y="15"/>
                  </a:lnTo>
                  <a:lnTo>
                    <a:pt x="72" y="0"/>
                  </a:lnTo>
                  <a:lnTo>
                    <a:pt x="85" y="15"/>
                  </a:lnTo>
                  <a:lnTo>
                    <a:pt x="101" y="29"/>
                  </a:lnTo>
                  <a:lnTo>
                    <a:pt x="130" y="29"/>
                  </a:lnTo>
                  <a:lnTo>
                    <a:pt x="130" y="45"/>
                  </a:lnTo>
                  <a:lnTo>
                    <a:pt x="144" y="74"/>
                  </a:lnTo>
                  <a:lnTo>
                    <a:pt x="144" y="87"/>
                  </a:lnTo>
                  <a:lnTo>
                    <a:pt x="130" y="101"/>
                  </a:lnTo>
                  <a:lnTo>
                    <a:pt x="130" y="116"/>
                  </a:lnTo>
                  <a:lnTo>
                    <a:pt x="130" y="143"/>
                  </a:lnTo>
                  <a:lnTo>
                    <a:pt x="144" y="159"/>
                  </a:lnTo>
                  <a:lnTo>
                    <a:pt x="144" y="172"/>
                  </a:lnTo>
                  <a:lnTo>
                    <a:pt x="144" y="202"/>
                  </a:lnTo>
                  <a:lnTo>
                    <a:pt x="157" y="202"/>
                  </a:lnTo>
                  <a:lnTo>
                    <a:pt x="157" y="231"/>
                  </a:lnTo>
                  <a:lnTo>
                    <a:pt x="173" y="246"/>
                  </a:lnTo>
                  <a:lnTo>
                    <a:pt x="186" y="260"/>
                  </a:lnTo>
                  <a:lnTo>
                    <a:pt x="186" y="260"/>
                  </a:lnTo>
                  <a:lnTo>
                    <a:pt x="186" y="260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0" name="Freeform 10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581525" y="4684713"/>
              <a:ext cx="360363" cy="187325"/>
            </a:xfrm>
            <a:custGeom>
              <a:avLst/>
              <a:gdLst>
                <a:gd name="T0" fmla="*/ 183 w 273"/>
                <a:gd name="T1" fmla="*/ 95 h 154"/>
                <a:gd name="T2" fmla="*/ 175 w 273"/>
                <a:gd name="T3" fmla="*/ 114 h 154"/>
                <a:gd name="T4" fmla="*/ 159 w 273"/>
                <a:gd name="T5" fmla="*/ 115 h 154"/>
                <a:gd name="T6" fmla="*/ 156 w 273"/>
                <a:gd name="T7" fmla="*/ 135 h 154"/>
                <a:gd name="T8" fmla="*/ 148 w 273"/>
                <a:gd name="T9" fmla="*/ 154 h 154"/>
                <a:gd name="T10" fmla="*/ 132 w 273"/>
                <a:gd name="T11" fmla="*/ 153 h 154"/>
                <a:gd name="T12" fmla="*/ 115 w 273"/>
                <a:gd name="T13" fmla="*/ 148 h 154"/>
                <a:gd name="T14" fmla="*/ 106 w 273"/>
                <a:gd name="T15" fmla="*/ 136 h 154"/>
                <a:gd name="T16" fmla="*/ 89 w 273"/>
                <a:gd name="T17" fmla="*/ 135 h 154"/>
                <a:gd name="T18" fmla="*/ 73 w 273"/>
                <a:gd name="T19" fmla="*/ 135 h 154"/>
                <a:gd name="T20" fmla="*/ 75 w 273"/>
                <a:gd name="T21" fmla="*/ 140 h 154"/>
                <a:gd name="T22" fmla="*/ 59 w 273"/>
                <a:gd name="T23" fmla="*/ 143 h 154"/>
                <a:gd name="T24" fmla="*/ 45 w 273"/>
                <a:gd name="T25" fmla="*/ 147 h 154"/>
                <a:gd name="T26" fmla="*/ 28 w 273"/>
                <a:gd name="T27" fmla="*/ 141 h 154"/>
                <a:gd name="T28" fmla="*/ 0 w 273"/>
                <a:gd name="T29" fmla="*/ 120 h 154"/>
                <a:gd name="T30" fmla="*/ 0 w 273"/>
                <a:gd name="T31" fmla="*/ 105 h 154"/>
                <a:gd name="T32" fmla="*/ 12 w 273"/>
                <a:gd name="T33" fmla="*/ 103 h 154"/>
                <a:gd name="T34" fmla="*/ 25 w 273"/>
                <a:gd name="T35" fmla="*/ 95 h 154"/>
                <a:gd name="T36" fmla="*/ 1 w 273"/>
                <a:gd name="T37" fmla="*/ 73 h 154"/>
                <a:gd name="T38" fmla="*/ 16 w 273"/>
                <a:gd name="T39" fmla="*/ 70 h 154"/>
                <a:gd name="T40" fmla="*/ 25 w 273"/>
                <a:gd name="T41" fmla="*/ 59 h 154"/>
                <a:gd name="T42" fmla="*/ 13 w 273"/>
                <a:gd name="T43" fmla="*/ 47 h 154"/>
                <a:gd name="T44" fmla="*/ 7 w 273"/>
                <a:gd name="T45" fmla="*/ 27 h 154"/>
                <a:gd name="T46" fmla="*/ 71 w 273"/>
                <a:gd name="T47" fmla="*/ 35 h 154"/>
                <a:gd name="T48" fmla="*/ 79 w 273"/>
                <a:gd name="T49" fmla="*/ 32 h 154"/>
                <a:gd name="T50" fmla="*/ 93 w 273"/>
                <a:gd name="T51" fmla="*/ 23 h 154"/>
                <a:gd name="T52" fmla="*/ 110 w 273"/>
                <a:gd name="T53" fmla="*/ 25 h 154"/>
                <a:gd name="T54" fmla="*/ 108 w 273"/>
                <a:gd name="T55" fmla="*/ 19 h 154"/>
                <a:gd name="T56" fmla="*/ 124 w 273"/>
                <a:gd name="T57" fmla="*/ 14 h 154"/>
                <a:gd name="T58" fmla="*/ 130 w 273"/>
                <a:gd name="T59" fmla="*/ 13 h 154"/>
                <a:gd name="T60" fmla="*/ 137 w 273"/>
                <a:gd name="T61" fmla="*/ 11 h 154"/>
                <a:gd name="T62" fmla="*/ 147 w 273"/>
                <a:gd name="T63" fmla="*/ 8 h 154"/>
                <a:gd name="T64" fmla="*/ 156 w 273"/>
                <a:gd name="T65" fmla="*/ 13 h 154"/>
                <a:gd name="T66" fmla="*/ 162 w 273"/>
                <a:gd name="T67" fmla="*/ 11 h 154"/>
                <a:gd name="T68" fmla="*/ 177 w 273"/>
                <a:gd name="T69" fmla="*/ 7 h 154"/>
                <a:gd name="T70" fmla="*/ 186 w 273"/>
                <a:gd name="T71" fmla="*/ 4 h 154"/>
                <a:gd name="T72" fmla="*/ 193 w 273"/>
                <a:gd name="T73" fmla="*/ 3 h 154"/>
                <a:gd name="T74" fmla="*/ 202 w 273"/>
                <a:gd name="T75" fmla="*/ 0 h 154"/>
                <a:gd name="T76" fmla="*/ 203 w 273"/>
                <a:gd name="T77" fmla="*/ 4 h 154"/>
                <a:gd name="T78" fmla="*/ 204 w 273"/>
                <a:gd name="T79" fmla="*/ 10 h 154"/>
                <a:gd name="T80" fmla="*/ 211 w 273"/>
                <a:gd name="T81" fmla="*/ 8 h 154"/>
                <a:gd name="T82" fmla="*/ 219 w 273"/>
                <a:gd name="T83" fmla="*/ 7 h 154"/>
                <a:gd name="T84" fmla="*/ 226 w 273"/>
                <a:gd name="T85" fmla="*/ 4 h 154"/>
                <a:gd name="T86" fmla="*/ 236 w 273"/>
                <a:gd name="T87" fmla="*/ 8 h 154"/>
                <a:gd name="T88" fmla="*/ 247 w 273"/>
                <a:gd name="T89" fmla="*/ 12 h 154"/>
                <a:gd name="T90" fmla="*/ 258 w 273"/>
                <a:gd name="T91" fmla="*/ 28 h 154"/>
                <a:gd name="T92" fmla="*/ 273 w 273"/>
                <a:gd name="T93" fmla="*/ 36 h 154"/>
                <a:gd name="T94" fmla="*/ 241 w 273"/>
                <a:gd name="T95" fmla="*/ 46 h 154"/>
                <a:gd name="T96" fmla="*/ 228 w 273"/>
                <a:gd name="T97" fmla="*/ 58 h 154"/>
                <a:gd name="T98" fmla="*/ 219 w 273"/>
                <a:gd name="T99" fmla="*/ 65 h 154"/>
                <a:gd name="T100" fmla="*/ 217 w 273"/>
                <a:gd name="T101" fmla="*/ 64 h 154"/>
                <a:gd name="T102" fmla="*/ 202 w 273"/>
                <a:gd name="T103" fmla="*/ 63 h 154"/>
                <a:gd name="T104" fmla="*/ 194 w 273"/>
                <a:gd name="T105" fmla="*/ 71 h 154"/>
                <a:gd name="T106" fmla="*/ 205 w 273"/>
                <a:gd name="T107" fmla="*/ 78 h 154"/>
                <a:gd name="T108" fmla="*/ 181 w 273"/>
                <a:gd name="T109" fmla="*/ 79 h 154"/>
                <a:gd name="T110" fmla="*/ 183 w 273"/>
                <a:gd name="T111" fmla="*/ 95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3" h="154">
                  <a:moveTo>
                    <a:pt x="183" y="95"/>
                  </a:moveTo>
                  <a:lnTo>
                    <a:pt x="175" y="114"/>
                  </a:lnTo>
                  <a:lnTo>
                    <a:pt x="159" y="115"/>
                  </a:lnTo>
                  <a:lnTo>
                    <a:pt x="156" y="135"/>
                  </a:lnTo>
                  <a:lnTo>
                    <a:pt x="148" y="154"/>
                  </a:lnTo>
                  <a:lnTo>
                    <a:pt x="132" y="153"/>
                  </a:lnTo>
                  <a:lnTo>
                    <a:pt x="115" y="148"/>
                  </a:lnTo>
                  <a:lnTo>
                    <a:pt x="106" y="136"/>
                  </a:lnTo>
                  <a:lnTo>
                    <a:pt x="89" y="135"/>
                  </a:lnTo>
                  <a:lnTo>
                    <a:pt x="73" y="135"/>
                  </a:lnTo>
                  <a:lnTo>
                    <a:pt x="75" y="140"/>
                  </a:lnTo>
                  <a:lnTo>
                    <a:pt x="59" y="143"/>
                  </a:lnTo>
                  <a:lnTo>
                    <a:pt x="45" y="147"/>
                  </a:lnTo>
                  <a:lnTo>
                    <a:pt x="28" y="141"/>
                  </a:lnTo>
                  <a:lnTo>
                    <a:pt x="0" y="120"/>
                  </a:lnTo>
                  <a:lnTo>
                    <a:pt x="0" y="105"/>
                  </a:lnTo>
                  <a:lnTo>
                    <a:pt x="12" y="103"/>
                  </a:lnTo>
                  <a:lnTo>
                    <a:pt x="25" y="95"/>
                  </a:lnTo>
                  <a:lnTo>
                    <a:pt x="1" y="73"/>
                  </a:lnTo>
                  <a:lnTo>
                    <a:pt x="16" y="70"/>
                  </a:lnTo>
                  <a:lnTo>
                    <a:pt x="25" y="59"/>
                  </a:lnTo>
                  <a:lnTo>
                    <a:pt x="13" y="47"/>
                  </a:lnTo>
                  <a:lnTo>
                    <a:pt x="7" y="27"/>
                  </a:lnTo>
                  <a:lnTo>
                    <a:pt x="71" y="35"/>
                  </a:lnTo>
                  <a:lnTo>
                    <a:pt x="79" y="32"/>
                  </a:lnTo>
                  <a:lnTo>
                    <a:pt x="93" y="23"/>
                  </a:lnTo>
                  <a:lnTo>
                    <a:pt x="110" y="25"/>
                  </a:lnTo>
                  <a:lnTo>
                    <a:pt x="108" y="19"/>
                  </a:lnTo>
                  <a:lnTo>
                    <a:pt x="124" y="14"/>
                  </a:lnTo>
                  <a:lnTo>
                    <a:pt x="130" y="13"/>
                  </a:lnTo>
                  <a:lnTo>
                    <a:pt x="137" y="11"/>
                  </a:lnTo>
                  <a:lnTo>
                    <a:pt x="147" y="8"/>
                  </a:lnTo>
                  <a:lnTo>
                    <a:pt x="156" y="13"/>
                  </a:lnTo>
                  <a:lnTo>
                    <a:pt x="162" y="11"/>
                  </a:lnTo>
                  <a:lnTo>
                    <a:pt x="177" y="7"/>
                  </a:lnTo>
                  <a:lnTo>
                    <a:pt x="186" y="4"/>
                  </a:lnTo>
                  <a:lnTo>
                    <a:pt x="193" y="3"/>
                  </a:lnTo>
                  <a:lnTo>
                    <a:pt x="202" y="0"/>
                  </a:lnTo>
                  <a:lnTo>
                    <a:pt x="203" y="4"/>
                  </a:lnTo>
                  <a:lnTo>
                    <a:pt x="204" y="10"/>
                  </a:lnTo>
                  <a:lnTo>
                    <a:pt x="211" y="8"/>
                  </a:lnTo>
                  <a:lnTo>
                    <a:pt x="219" y="7"/>
                  </a:lnTo>
                  <a:lnTo>
                    <a:pt x="226" y="4"/>
                  </a:lnTo>
                  <a:lnTo>
                    <a:pt x="236" y="8"/>
                  </a:lnTo>
                  <a:lnTo>
                    <a:pt x="247" y="12"/>
                  </a:lnTo>
                  <a:lnTo>
                    <a:pt x="258" y="28"/>
                  </a:lnTo>
                  <a:lnTo>
                    <a:pt x="273" y="36"/>
                  </a:lnTo>
                  <a:lnTo>
                    <a:pt x="241" y="46"/>
                  </a:lnTo>
                  <a:lnTo>
                    <a:pt x="228" y="58"/>
                  </a:lnTo>
                  <a:lnTo>
                    <a:pt x="219" y="65"/>
                  </a:lnTo>
                  <a:lnTo>
                    <a:pt x="217" y="64"/>
                  </a:lnTo>
                  <a:lnTo>
                    <a:pt x="202" y="63"/>
                  </a:lnTo>
                  <a:lnTo>
                    <a:pt x="194" y="71"/>
                  </a:lnTo>
                  <a:lnTo>
                    <a:pt x="205" y="78"/>
                  </a:lnTo>
                  <a:lnTo>
                    <a:pt x="181" y="79"/>
                  </a:lnTo>
                  <a:lnTo>
                    <a:pt x="183" y="95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1" name="Freeform 11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353050" y="5259388"/>
              <a:ext cx="325438" cy="204788"/>
            </a:xfrm>
            <a:custGeom>
              <a:avLst/>
              <a:gdLst>
                <a:gd name="T0" fmla="*/ 77 w 246"/>
                <a:gd name="T1" fmla="*/ 27 h 168"/>
                <a:gd name="T2" fmla="*/ 90 w 246"/>
                <a:gd name="T3" fmla="*/ 24 h 168"/>
                <a:gd name="T4" fmla="*/ 105 w 246"/>
                <a:gd name="T5" fmla="*/ 21 h 168"/>
                <a:gd name="T6" fmla="*/ 123 w 246"/>
                <a:gd name="T7" fmla="*/ 23 h 168"/>
                <a:gd name="T8" fmla="*/ 140 w 246"/>
                <a:gd name="T9" fmla="*/ 21 h 168"/>
                <a:gd name="T10" fmla="*/ 156 w 246"/>
                <a:gd name="T11" fmla="*/ 15 h 168"/>
                <a:gd name="T12" fmla="*/ 164 w 246"/>
                <a:gd name="T13" fmla="*/ 0 h 168"/>
                <a:gd name="T14" fmla="*/ 194 w 246"/>
                <a:gd name="T15" fmla="*/ 14 h 168"/>
                <a:gd name="T16" fmla="*/ 225 w 246"/>
                <a:gd name="T17" fmla="*/ 45 h 168"/>
                <a:gd name="T18" fmla="*/ 227 w 246"/>
                <a:gd name="T19" fmla="*/ 66 h 168"/>
                <a:gd name="T20" fmla="*/ 215 w 246"/>
                <a:gd name="T21" fmla="*/ 80 h 168"/>
                <a:gd name="T22" fmla="*/ 246 w 246"/>
                <a:gd name="T23" fmla="*/ 84 h 168"/>
                <a:gd name="T24" fmla="*/ 216 w 246"/>
                <a:gd name="T25" fmla="*/ 96 h 168"/>
                <a:gd name="T26" fmla="*/ 198 w 246"/>
                <a:gd name="T27" fmla="*/ 116 h 168"/>
                <a:gd name="T28" fmla="*/ 192 w 246"/>
                <a:gd name="T29" fmla="*/ 129 h 168"/>
                <a:gd name="T30" fmla="*/ 185 w 246"/>
                <a:gd name="T31" fmla="*/ 129 h 168"/>
                <a:gd name="T32" fmla="*/ 185 w 246"/>
                <a:gd name="T33" fmla="*/ 125 h 168"/>
                <a:gd name="T34" fmla="*/ 179 w 246"/>
                <a:gd name="T35" fmla="*/ 119 h 168"/>
                <a:gd name="T36" fmla="*/ 171 w 246"/>
                <a:gd name="T37" fmla="*/ 119 h 168"/>
                <a:gd name="T38" fmla="*/ 163 w 246"/>
                <a:gd name="T39" fmla="*/ 125 h 168"/>
                <a:gd name="T40" fmla="*/ 171 w 246"/>
                <a:gd name="T41" fmla="*/ 135 h 168"/>
                <a:gd name="T42" fmla="*/ 149 w 246"/>
                <a:gd name="T43" fmla="*/ 146 h 168"/>
                <a:gd name="T44" fmla="*/ 143 w 246"/>
                <a:gd name="T45" fmla="*/ 140 h 168"/>
                <a:gd name="T46" fmla="*/ 137 w 246"/>
                <a:gd name="T47" fmla="*/ 146 h 168"/>
                <a:gd name="T48" fmla="*/ 128 w 246"/>
                <a:gd name="T49" fmla="*/ 146 h 168"/>
                <a:gd name="T50" fmla="*/ 128 w 246"/>
                <a:gd name="T51" fmla="*/ 140 h 168"/>
                <a:gd name="T52" fmla="*/ 116 w 246"/>
                <a:gd name="T53" fmla="*/ 146 h 168"/>
                <a:gd name="T54" fmla="*/ 108 w 246"/>
                <a:gd name="T55" fmla="*/ 146 h 168"/>
                <a:gd name="T56" fmla="*/ 108 w 246"/>
                <a:gd name="T57" fmla="*/ 151 h 168"/>
                <a:gd name="T58" fmla="*/ 101 w 246"/>
                <a:gd name="T59" fmla="*/ 157 h 168"/>
                <a:gd name="T60" fmla="*/ 93 w 246"/>
                <a:gd name="T61" fmla="*/ 157 h 168"/>
                <a:gd name="T62" fmla="*/ 80 w 246"/>
                <a:gd name="T63" fmla="*/ 157 h 168"/>
                <a:gd name="T64" fmla="*/ 73 w 246"/>
                <a:gd name="T65" fmla="*/ 168 h 168"/>
                <a:gd name="T66" fmla="*/ 59 w 246"/>
                <a:gd name="T67" fmla="*/ 162 h 168"/>
                <a:gd name="T68" fmla="*/ 44 w 246"/>
                <a:gd name="T69" fmla="*/ 157 h 168"/>
                <a:gd name="T70" fmla="*/ 44 w 246"/>
                <a:gd name="T71" fmla="*/ 162 h 168"/>
                <a:gd name="T72" fmla="*/ 31 w 246"/>
                <a:gd name="T73" fmla="*/ 162 h 168"/>
                <a:gd name="T74" fmla="*/ 31 w 246"/>
                <a:gd name="T75" fmla="*/ 151 h 168"/>
                <a:gd name="T76" fmla="*/ 38 w 246"/>
                <a:gd name="T77" fmla="*/ 146 h 168"/>
                <a:gd name="T78" fmla="*/ 38 w 246"/>
                <a:gd name="T79" fmla="*/ 140 h 168"/>
                <a:gd name="T80" fmla="*/ 31 w 246"/>
                <a:gd name="T81" fmla="*/ 135 h 168"/>
                <a:gd name="T82" fmla="*/ 23 w 246"/>
                <a:gd name="T83" fmla="*/ 140 h 168"/>
                <a:gd name="T84" fmla="*/ 17 w 246"/>
                <a:gd name="T85" fmla="*/ 146 h 168"/>
                <a:gd name="T86" fmla="*/ 17 w 246"/>
                <a:gd name="T87" fmla="*/ 129 h 168"/>
                <a:gd name="T88" fmla="*/ 31 w 246"/>
                <a:gd name="T89" fmla="*/ 125 h 168"/>
                <a:gd name="T90" fmla="*/ 11 w 246"/>
                <a:gd name="T91" fmla="*/ 108 h 168"/>
                <a:gd name="T92" fmla="*/ 15 w 246"/>
                <a:gd name="T93" fmla="*/ 87 h 168"/>
                <a:gd name="T94" fmla="*/ 0 w 246"/>
                <a:gd name="T95" fmla="*/ 68 h 168"/>
                <a:gd name="T96" fmla="*/ 2 w 246"/>
                <a:gd name="T97" fmla="*/ 45 h 168"/>
                <a:gd name="T98" fmla="*/ 27 w 246"/>
                <a:gd name="T99" fmla="*/ 41 h 168"/>
                <a:gd name="T100" fmla="*/ 39 w 246"/>
                <a:gd name="T101" fmla="*/ 32 h 168"/>
                <a:gd name="T102" fmla="*/ 53 w 246"/>
                <a:gd name="T103" fmla="*/ 29 h 168"/>
                <a:gd name="T104" fmla="*/ 75 w 246"/>
                <a:gd name="T105" fmla="*/ 2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168">
                  <a:moveTo>
                    <a:pt x="77" y="27"/>
                  </a:moveTo>
                  <a:lnTo>
                    <a:pt x="90" y="24"/>
                  </a:lnTo>
                  <a:lnTo>
                    <a:pt x="105" y="21"/>
                  </a:lnTo>
                  <a:lnTo>
                    <a:pt x="123" y="23"/>
                  </a:lnTo>
                  <a:lnTo>
                    <a:pt x="140" y="21"/>
                  </a:lnTo>
                  <a:lnTo>
                    <a:pt x="156" y="15"/>
                  </a:lnTo>
                  <a:lnTo>
                    <a:pt x="164" y="0"/>
                  </a:lnTo>
                  <a:lnTo>
                    <a:pt x="194" y="14"/>
                  </a:lnTo>
                  <a:lnTo>
                    <a:pt x="225" y="45"/>
                  </a:lnTo>
                  <a:lnTo>
                    <a:pt x="227" y="66"/>
                  </a:lnTo>
                  <a:lnTo>
                    <a:pt x="215" y="80"/>
                  </a:lnTo>
                  <a:lnTo>
                    <a:pt x="246" y="84"/>
                  </a:lnTo>
                  <a:lnTo>
                    <a:pt x="216" y="96"/>
                  </a:lnTo>
                  <a:lnTo>
                    <a:pt x="198" y="116"/>
                  </a:lnTo>
                  <a:lnTo>
                    <a:pt x="192" y="129"/>
                  </a:lnTo>
                  <a:lnTo>
                    <a:pt x="185" y="129"/>
                  </a:lnTo>
                  <a:lnTo>
                    <a:pt x="185" y="125"/>
                  </a:lnTo>
                  <a:lnTo>
                    <a:pt x="179" y="119"/>
                  </a:lnTo>
                  <a:lnTo>
                    <a:pt x="171" y="119"/>
                  </a:lnTo>
                  <a:lnTo>
                    <a:pt x="163" y="125"/>
                  </a:lnTo>
                  <a:lnTo>
                    <a:pt x="171" y="135"/>
                  </a:lnTo>
                  <a:lnTo>
                    <a:pt x="149" y="146"/>
                  </a:lnTo>
                  <a:lnTo>
                    <a:pt x="143" y="140"/>
                  </a:lnTo>
                  <a:lnTo>
                    <a:pt x="137" y="146"/>
                  </a:lnTo>
                  <a:lnTo>
                    <a:pt x="128" y="146"/>
                  </a:lnTo>
                  <a:lnTo>
                    <a:pt x="128" y="140"/>
                  </a:lnTo>
                  <a:lnTo>
                    <a:pt x="116" y="146"/>
                  </a:lnTo>
                  <a:lnTo>
                    <a:pt x="108" y="146"/>
                  </a:lnTo>
                  <a:lnTo>
                    <a:pt x="108" y="151"/>
                  </a:lnTo>
                  <a:lnTo>
                    <a:pt x="101" y="157"/>
                  </a:lnTo>
                  <a:lnTo>
                    <a:pt x="93" y="157"/>
                  </a:lnTo>
                  <a:lnTo>
                    <a:pt x="80" y="157"/>
                  </a:lnTo>
                  <a:lnTo>
                    <a:pt x="73" y="168"/>
                  </a:lnTo>
                  <a:lnTo>
                    <a:pt x="59" y="162"/>
                  </a:lnTo>
                  <a:lnTo>
                    <a:pt x="44" y="157"/>
                  </a:lnTo>
                  <a:lnTo>
                    <a:pt x="44" y="162"/>
                  </a:lnTo>
                  <a:lnTo>
                    <a:pt x="31" y="162"/>
                  </a:lnTo>
                  <a:lnTo>
                    <a:pt x="31" y="151"/>
                  </a:lnTo>
                  <a:lnTo>
                    <a:pt x="38" y="146"/>
                  </a:lnTo>
                  <a:lnTo>
                    <a:pt x="38" y="140"/>
                  </a:lnTo>
                  <a:lnTo>
                    <a:pt x="31" y="135"/>
                  </a:lnTo>
                  <a:lnTo>
                    <a:pt x="23" y="140"/>
                  </a:lnTo>
                  <a:lnTo>
                    <a:pt x="17" y="146"/>
                  </a:lnTo>
                  <a:lnTo>
                    <a:pt x="17" y="129"/>
                  </a:lnTo>
                  <a:lnTo>
                    <a:pt x="31" y="125"/>
                  </a:lnTo>
                  <a:lnTo>
                    <a:pt x="11" y="108"/>
                  </a:lnTo>
                  <a:lnTo>
                    <a:pt x="15" y="87"/>
                  </a:lnTo>
                  <a:lnTo>
                    <a:pt x="0" y="68"/>
                  </a:lnTo>
                  <a:lnTo>
                    <a:pt x="2" y="45"/>
                  </a:lnTo>
                  <a:lnTo>
                    <a:pt x="27" y="41"/>
                  </a:lnTo>
                  <a:lnTo>
                    <a:pt x="39" y="32"/>
                  </a:lnTo>
                  <a:lnTo>
                    <a:pt x="53" y="29"/>
                  </a:lnTo>
                  <a:lnTo>
                    <a:pt x="75" y="27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2" name="Freeform 12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3154363" y="5033963"/>
              <a:ext cx="58738" cy="41275"/>
            </a:xfrm>
            <a:custGeom>
              <a:avLst/>
              <a:gdLst>
                <a:gd name="T0" fmla="*/ 0 w 60"/>
                <a:gd name="T1" fmla="*/ 21 h 52"/>
                <a:gd name="T2" fmla="*/ 7 w 60"/>
                <a:gd name="T3" fmla="*/ 9 h 52"/>
                <a:gd name="T4" fmla="*/ 19 w 60"/>
                <a:gd name="T5" fmla="*/ 3 h 52"/>
                <a:gd name="T6" fmla="*/ 36 w 60"/>
                <a:gd name="T7" fmla="*/ 0 h 52"/>
                <a:gd name="T8" fmla="*/ 46 w 60"/>
                <a:gd name="T9" fmla="*/ 0 h 52"/>
                <a:gd name="T10" fmla="*/ 60 w 60"/>
                <a:gd name="T11" fmla="*/ 19 h 52"/>
                <a:gd name="T12" fmla="*/ 60 w 60"/>
                <a:gd name="T13" fmla="*/ 40 h 52"/>
                <a:gd name="T14" fmla="*/ 46 w 60"/>
                <a:gd name="T15" fmla="*/ 52 h 52"/>
                <a:gd name="T16" fmla="*/ 36 w 60"/>
                <a:gd name="T17" fmla="*/ 52 h 52"/>
                <a:gd name="T18" fmla="*/ 23 w 60"/>
                <a:gd name="T19" fmla="*/ 50 h 52"/>
                <a:gd name="T20" fmla="*/ 7 w 60"/>
                <a:gd name="T21" fmla="*/ 44 h 52"/>
                <a:gd name="T22" fmla="*/ 0 w 60"/>
                <a:gd name="T23" fmla="*/ 21 h 52"/>
                <a:gd name="T24" fmla="*/ 0 w 60"/>
                <a:gd name="T25" fmla="*/ 2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52">
                  <a:moveTo>
                    <a:pt x="0" y="21"/>
                  </a:moveTo>
                  <a:lnTo>
                    <a:pt x="7" y="9"/>
                  </a:lnTo>
                  <a:lnTo>
                    <a:pt x="19" y="3"/>
                  </a:lnTo>
                  <a:lnTo>
                    <a:pt x="36" y="0"/>
                  </a:lnTo>
                  <a:lnTo>
                    <a:pt x="46" y="0"/>
                  </a:lnTo>
                  <a:lnTo>
                    <a:pt x="60" y="19"/>
                  </a:lnTo>
                  <a:lnTo>
                    <a:pt x="60" y="40"/>
                  </a:lnTo>
                  <a:lnTo>
                    <a:pt x="46" y="52"/>
                  </a:lnTo>
                  <a:lnTo>
                    <a:pt x="36" y="52"/>
                  </a:lnTo>
                  <a:lnTo>
                    <a:pt x="23" y="50"/>
                  </a:lnTo>
                  <a:lnTo>
                    <a:pt x="7" y="44"/>
                  </a:lnTo>
                  <a:lnTo>
                    <a:pt x="0" y="21"/>
                  </a:lnTo>
                  <a:lnTo>
                    <a:pt x="0" y="21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3" name="Freeform 13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486275" y="4143376"/>
              <a:ext cx="671513" cy="333375"/>
            </a:xfrm>
            <a:custGeom>
              <a:avLst/>
              <a:gdLst>
                <a:gd name="T0" fmla="*/ 485 w 509"/>
                <a:gd name="T1" fmla="*/ 133 h 273"/>
                <a:gd name="T2" fmla="*/ 450 w 509"/>
                <a:gd name="T3" fmla="*/ 118 h 273"/>
                <a:gd name="T4" fmla="*/ 416 w 509"/>
                <a:gd name="T5" fmla="*/ 91 h 273"/>
                <a:gd name="T6" fmla="*/ 385 w 509"/>
                <a:gd name="T7" fmla="*/ 89 h 273"/>
                <a:gd name="T8" fmla="*/ 364 w 509"/>
                <a:gd name="T9" fmla="*/ 105 h 273"/>
                <a:gd name="T10" fmla="*/ 343 w 509"/>
                <a:gd name="T11" fmla="*/ 89 h 273"/>
                <a:gd name="T12" fmla="*/ 332 w 509"/>
                <a:gd name="T13" fmla="*/ 80 h 273"/>
                <a:gd name="T14" fmla="*/ 332 w 509"/>
                <a:gd name="T15" fmla="*/ 61 h 273"/>
                <a:gd name="T16" fmla="*/ 290 w 509"/>
                <a:gd name="T17" fmla="*/ 51 h 273"/>
                <a:gd name="T18" fmla="*/ 268 w 509"/>
                <a:gd name="T19" fmla="*/ 41 h 273"/>
                <a:gd name="T20" fmla="*/ 256 w 509"/>
                <a:gd name="T21" fmla="*/ 32 h 273"/>
                <a:gd name="T22" fmla="*/ 256 w 509"/>
                <a:gd name="T23" fmla="*/ 3 h 273"/>
                <a:gd name="T24" fmla="*/ 225 w 509"/>
                <a:gd name="T25" fmla="*/ 3 h 273"/>
                <a:gd name="T26" fmla="*/ 215 w 509"/>
                <a:gd name="T27" fmla="*/ 22 h 273"/>
                <a:gd name="T28" fmla="*/ 199 w 509"/>
                <a:gd name="T29" fmla="*/ 0 h 273"/>
                <a:gd name="T30" fmla="*/ 160 w 509"/>
                <a:gd name="T31" fmla="*/ 22 h 273"/>
                <a:gd name="T32" fmla="*/ 117 w 509"/>
                <a:gd name="T33" fmla="*/ 51 h 273"/>
                <a:gd name="T34" fmla="*/ 95 w 509"/>
                <a:gd name="T35" fmla="*/ 61 h 273"/>
                <a:gd name="T36" fmla="*/ 63 w 509"/>
                <a:gd name="T37" fmla="*/ 70 h 273"/>
                <a:gd name="T38" fmla="*/ 34 w 509"/>
                <a:gd name="T39" fmla="*/ 55 h 273"/>
                <a:gd name="T40" fmla="*/ 0 w 509"/>
                <a:gd name="T41" fmla="*/ 51 h 273"/>
                <a:gd name="T42" fmla="*/ 10 w 509"/>
                <a:gd name="T43" fmla="*/ 89 h 273"/>
                <a:gd name="T44" fmla="*/ 22 w 509"/>
                <a:gd name="T45" fmla="*/ 109 h 273"/>
                <a:gd name="T46" fmla="*/ 42 w 509"/>
                <a:gd name="T47" fmla="*/ 129 h 273"/>
                <a:gd name="T48" fmla="*/ 42 w 509"/>
                <a:gd name="T49" fmla="*/ 157 h 273"/>
                <a:gd name="T50" fmla="*/ 63 w 509"/>
                <a:gd name="T51" fmla="*/ 186 h 273"/>
                <a:gd name="T52" fmla="*/ 86 w 509"/>
                <a:gd name="T53" fmla="*/ 216 h 273"/>
                <a:gd name="T54" fmla="*/ 104 w 509"/>
                <a:gd name="T55" fmla="*/ 226 h 273"/>
                <a:gd name="T56" fmla="*/ 121 w 509"/>
                <a:gd name="T57" fmla="*/ 245 h 273"/>
                <a:gd name="T58" fmla="*/ 138 w 509"/>
                <a:gd name="T59" fmla="*/ 254 h 273"/>
                <a:gd name="T60" fmla="*/ 170 w 509"/>
                <a:gd name="T61" fmla="*/ 263 h 273"/>
                <a:gd name="T62" fmla="*/ 203 w 509"/>
                <a:gd name="T63" fmla="*/ 254 h 273"/>
                <a:gd name="T64" fmla="*/ 207 w 509"/>
                <a:gd name="T65" fmla="*/ 240 h 273"/>
                <a:gd name="T66" fmla="*/ 235 w 509"/>
                <a:gd name="T67" fmla="*/ 234 h 273"/>
                <a:gd name="T68" fmla="*/ 256 w 509"/>
                <a:gd name="T69" fmla="*/ 234 h 273"/>
                <a:gd name="T70" fmla="*/ 278 w 509"/>
                <a:gd name="T71" fmla="*/ 243 h 273"/>
                <a:gd name="T72" fmla="*/ 306 w 509"/>
                <a:gd name="T73" fmla="*/ 254 h 273"/>
                <a:gd name="T74" fmla="*/ 316 w 509"/>
                <a:gd name="T75" fmla="*/ 265 h 273"/>
                <a:gd name="T76" fmla="*/ 368 w 509"/>
                <a:gd name="T77" fmla="*/ 271 h 273"/>
                <a:gd name="T78" fmla="*/ 418 w 509"/>
                <a:gd name="T79" fmla="*/ 256 h 273"/>
                <a:gd name="T80" fmla="*/ 472 w 509"/>
                <a:gd name="T81" fmla="*/ 246 h 273"/>
                <a:gd name="T82" fmla="*/ 500 w 509"/>
                <a:gd name="T83" fmla="*/ 162 h 273"/>
                <a:gd name="T84" fmla="*/ 506 w 509"/>
                <a:gd name="T85" fmla="*/ 13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9" h="273">
                  <a:moveTo>
                    <a:pt x="506" y="133"/>
                  </a:moveTo>
                  <a:lnTo>
                    <a:pt x="485" y="133"/>
                  </a:lnTo>
                  <a:lnTo>
                    <a:pt x="462" y="129"/>
                  </a:lnTo>
                  <a:lnTo>
                    <a:pt x="450" y="118"/>
                  </a:lnTo>
                  <a:lnTo>
                    <a:pt x="428" y="89"/>
                  </a:lnTo>
                  <a:lnTo>
                    <a:pt x="416" y="91"/>
                  </a:lnTo>
                  <a:lnTo>
                    <a:pt x="407" y="89"/>
                  </a:lnTo>
                  <a:lnTo>
                    <a:pt x="385" y="89"/>
                  </a:lnTo>
                  <a:lnTo>
                    <a:pt x="375" y="89"/>
                  </a:lnTo>
                  <a:lnTo>
                    <a:pt x="364" y="105"/>
                  </a:lnTo>
                  <a:lnTo>
                    <a:pt x="353" y="99"/>
                  </a:lnTo>
                  <a:lnTo>
                    <a:pt x="343" y="89"/>
                  </a:lnTo>
                  <a:lnTo>
                    <a:pt x="321" y="89"/>
                  </a:lnTo>
                  <a:lnTo>
                    <a:pt x="332" y="80"/>
                  </a:lnTo>
                  <a:lnTo>
                    <a:pt x="343" y="70"/>
                  </a:lnTo>
                  <a:lnTo>
                    <a:pt x="332" y="61"/>
                  </a:lnTo>
                  <a:lnTo>
                    <a:pt x="312" y="61"/>
                  </a:lnTo>
                  <a:lnTo>
                    <a:pt x="290" y="51"/>
                  </a:lnTo>
                  <a:lnTo>
                    <a:pt x="278" y="51"/>
                  </a:lnTo>
                  <a:lnTo>
                    <a:pt x="268" y="41"/>
                  </a:lnTo>
                  <a:lnTo>
                    <a:pt x="256" y="41"/>
                  </a:lnTo>
                  <a:lnTo>
                    <a:pt x="256" y="32"/>
                  </a:lnTo>
                  <a:lnTo>
                    <a:pt x="256" y="22"/>
                  </a:lnTo>
                  <a:lnTo>
                    <a:pt x="256" y="3"/>
                  </a:lnTo>
                  <a:lnTo>
                    <a:pt x="247" y="3"/>
                  </a:lnTo>
                  <a:lnTo>
                    <a:pt x="225" y="3"/>
                  </a:lnTo>
                  <a:lnTo>
                    <a:pt x="225" y="12"/>
                  </a:lnTo>
                  <a:lnTo>
                    <a:pt x="215" y="22"/>
                  </a:lnTo>
                  <a:lnTo>
                    <a:pt x="208" y="9"/>
                  </a:lnTo>
                  <a:lnTo>
                    <a:pt x="199" y="0"/>
                  </a:lnTo>
                  <a:lnTo>
                    <a:pt x="170" y="12"/>
                  </a:lnTo>
                  <a:lnTo>
                    <a:pt x="160" y="22"/>
                  </a:lnTo>
                  <a:lnTo>
                    <a:pt x="150" y="32"/>
                  </a:lnTo>
                  <a:lnTo>
                    <a:pt x="117" y="51"/>
                  </a:lnTo>
                  <a:lnTo>
                    <a:pt x="106" y="51"/>
                  </a:lnTo>
                  <a:lnTo>
                    <a:pt x="95" y="61"/>
                  </a:lnTo>
                  <a:lnTo>
                    <a:pt x="86" y="61"/>
                  </a:lnTo>
                  <a:lnTo>
                    <a:pt x="63" y="70"/>
                  </a:lnTo>
                  <a:lnTo>
                    <a:pt x="44" y="61"/>
                  </a:lnTo>
                  <a:lnTo>
                    <a:pt x="34" y="55"/>
                  </a:lnTo>
                  <a:lnTo>
                    <a:pt x="16" y="60"/>
                  </a:lnTo>
                  <a:lnTo>
                    <a:pt x="0" y="51"/>
                  </a:lnTo>
                  <a:lnTo>
                    <a:pt x="0" y="70"/>
                  </a:lnTo>
                  <a:lnTo>
                    <a:pt x="10" y="89"/>
                  </a:lnTo>
                  <a:lnTo>
                    <a:pt x="22" y="89"/>
                  </a:lnTo>
                  <a:lnTo>
                    <a:pt x="22" y="109"/>
                  </a:lnTo>
                  <a:lnTo>
                    <a:pt x="32" y="118"/>
                  </a:lnTo>
                  <a:lnTo>
                    <a:pt x="42" y="129"/>
                  </a:lnTo>
                  <a:lnTo>
                    <a:pt x="42" y="148"/>
                  </a:lnTo>
                  <a:lnTo>
                    <a:pt x="42" y="157"/>
                  </a:lnTo>
                  <a:lnTo>
                    <a:pt x="54" y="167"/>
                  </a:lnTo>
                  <a:lnTo>
                    <a:pt x="63" y="186"/>
                  </a:lnTo>
                  <a:lnTo>
                    <a:pt x="75" y="206"/>
                  </a:lnTo>
                  <a:lnTo>
                    <a:pt x="86" y="216"/>
                  </a:lnTo>
                  <a:lnTo>
                    <a:pt x="95" y="216"/>
                  </a:lnTo>
                  <a:lnTo>
                    <a:pt x="104" y="226"/>
                  </a:lnTo>
                  <a:lnTo>
                    <a:pt x="112" y="234"/>
                  </a:lnTo>
                  <a:lnTo>
                    <a:pt x="121" y="245"/>
                  </a:lnTo>
                  <a:lnTo>
                    <a:pt x="129" y="254"/>
                  </a:lnTo>
                  <a:lnTo>
                    <a:pt x="138" y="254"/>
                  </a:lnTo>
                  <a:lnTo>
                    <a:pt x="150" y="263"/>
                  </a:lnTo>
                  <a:lnTo>
                    <a:pt x="170" y="263"/>
                  </a:lnTo>
                  <a:lnTo>
                    <a:pt x="193" y="263"/>
                  </a:lnTo>
                  <a:lnTo>
                    <a:pt x="203" y="254"/>
                  </a:lnTo>
                  <a:lnTo>
                    <a:pt x="203" y="243"/>
                  </a:lnTo>
                  <a:lnTo>
                    <a:pt x="207" y="240"/>
                  </a:lnTo>
                  <a:lnTo>
                    <a:pt x="215" y="234"/>
                  </a:lnTo>
                  <a:lnTo>
                    <a:pt x="235" y="234"/>
                  </a:lnTo>
                  <a:lnTo>
                    <a:pt x="247" y="234"/>
                  </a:lnTo>
                  <a:lnTo>
                    <a:pt x="256" y="234"/>
                  </a:lnTo>
                  <a:lnTo>
                    <a:pt x="268" y="243"/>
                  </a:lnTo>
                  <a:lnTo>
                    <a:pt x="278" y="243"/>
                  </a:lnTo>
                  <a:lnTo>
                    <a:pt x="300" y="243"/>
                  </a:lnTo>
                  <a:lnTo>
                    <a:pt x="306" y="254"/>
                  </a:lnTo>
                  <a:lnTo>
                    <a:pt x="313" y="259"/>
                  </a:lnTo>
                  <a:lnTo>
                    <a:pt x="316" y="265"/>
                  </a:lnTo>
                  <a:lnTo>
                    <a:pt x="332" y="273"/>
                  </a:lnTo>
                  <a:lnTo>
                    <a:pt x="368" y="271"/>
                  </a:lnTo>
                  <a:lnTo>
                    <a:pt x="386" y="246"/>
                  </a:lnTo>
                  <a:lnTo>
                    <a:pt x="418" y="256"/>
                  </a:lnTo>
                  <a:lnTo>
                    <a:pt x="434" y="250"/>
                  </a:lnTo>
                  <a:lnTo>
                    <a:pt x="472" y="246"/>
                  </a:lnTo>
                  <a:lnTo>
                    <a:pt x="475" y="187"/>
                  </a:lnTo>
                  <a:lnTo>
                    <a:pt x="500" y="162"/>
                  </a:lnTo>
                  <a:lnTo>
                    <a:pt x="509" y="157"/>
                  </a:lnTo>
                  <a:lnTo>
                    <a:pt x="506" y="133"/>
                  </a:lnTo>
                  <a:close/>
                </a:path>
              </a:pathLst>
            </a:custGeom>
            <a:solidFill>
              <a:srgbClr val="FF0000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FFFF"/>
                </a:solidFill>
              </a:endParaRPr>
            </a:p>
          </p:txBody>
        </p:sp>
        <p:sp>
          <p:nvSpPr>
            <p:cNvPr id="234" name="Freeform 14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098925" y="1611313"/>
              <a:ext cx="1798638" cy="1606550"/>
            </a:xfrm>
            <a:custGeom>
              <a:avLst/>
              <a:gdLst>
                <a:gd name="T0" fmla="*/ 534 w 1835"/>
                <a:gd name="T1" fmla="*/ 1809 h 1966"/>
                <a:gd name="T2" fmla="*/ 635 w 1835"/>
                <a:gd name="T3" fmla="*/ 1681 h 1966"/>
                <a:gd name="T4" fmla="*/ 666 w 1835"/>
                <a:gd name="T5" fmla="*/ 1493 h 1966"/>
                <a:gd name="T6" fmla="*/ 650 w 1835"/>
                <a:gd name="T7" fmla="*/ 1349 h 1966"/>
                <a:gd name="T8" fmla="*/ 666 w 1835"/>
                <a:gd name="T9" fmla="*/ 1163 h 1966"/>
                <a:gd name="T10" fmla="*/ 796 w 1835"/>
                <a:gd name="T11" fmla="*/ 1121 h 1966"/>
                <a:gd name="T12" fmla="*/ 823 w 1835"/>
                <a:gd name="T13" fmla="*/ 977 h 1966"/>
                <a:gd name="T14" fmla="*/ 896 w 1835"/>
                <a:gd name="T15" fmla="*/ 789 h 1966"/>
                <a:gd name="T16" fmla="*/ 1011 w 1835"/>
                <a:gd name="T17" fmla="*/ 645 h 1966"/>
                <a:gd name="T18" fmla="*/ 1083 w 1835"/>
                <a:gd name="T19" fmla="*/ 502 h 1966"/>
                <a:gd name="T20" fmla="*/ 1183 w 1835"/>
                <a:gd name="T21" fmla="*/ 459 h 1966"/>
                <a:gd name="T22" fmla="*/ 1269 w 1835"/>
                <a:gd name="T23" fmla="*/ 316 h 1966"/>
                <a:gd name="T24" fmla="*/ 1385 w 1835"/>
                <a:gd name="T25" fmla="*/ 401 h 1966"/>
                <a:gd name="T26" fmla="*/ 1531 w 1835"/>
                <a:gd name="T27" fmla="*/ 358 h 1966"/>
                <a:gd name="T28" fmla="*/ 1602 w 1835"/>
                <a:gd name="T29" fmla="*/ 201 h 1966"/>
                <a:gd name="T30" fmla="*/ 1732 w 1835"/>
                <a:gd name="T31" fmla="*/ 244 h 1966"/>
                <a:gd name="T32" fmla="*/ 1732 w 1835"/>
                <a:gd name="T33" fmla="*/ 343 h 1966"/>
                <a:gd name="T34" fmla="*/ 1789 w 1835"/>
                <a:gd name="T35" fmla="*/ 186 h 1966"/>
                <a:gd name="T36" fmla="*/ 1802 w 1835"/>
                <a:gd name="T37" fmla="*/ 85 h 1966"/>
                <a:gd name="T38" fmla="*/ 1672 w 1835"/>
                <a:gd name="T39" fmla="*/ 85 h 1966"/>
                <a:gd name="T40" fmla="*/ 1616 w 1835"/>
                <a:gd name="T41" fmla="*/ 29 h 1966"/>
                <a:gd name="T42" fmla="*/ 1558 w 1835"/>
                <a:gd name="T43" fmla="*/ 56 h 1966"/>
                <a:gd name="T44" fmla="*/ 1500 w 1835"/>
                <a:gd name="T45" fmla="*/ 143 h 1966"/>
                <a:gd name="T46" fmla="*/ 1542 w 1835"/>
                <a:gd name="T47" fmla="*/ 0 h 1966"/>
                <a:gd name="T48" fmla="*/ 1428 w 1835"/>
                <a:gd name="T49" fmla="*/ 70 h 1966"/>
                <a:gd name="T50" fmla="*/ 1372 w 1835"/>
                <a:gd name="T51" fmla="*/ 157 h 1966"/>
                <a:gd name="T52" fmla="*/ 1284 w 1835"/>
                <a:gd name="T53" fmla="*/ 186 h 1966"/>
                <a:gd name="T54" fmla="*/ 1226 w 1835"/>
                <a:gd name="T55" fmla="*/ 244 h 1966"/>
                <a:gd name="T56" fmla="*/ 1168 w 1835"/>
                <a:gd name="T57" fmla="*/ 287 h 1966"/>
                <a:gd name="T58" fmla="*/ 1096 w 1835"/>
                <a:gd name="T59" fmla="*/ 358 h 1966"/>
                <a:gd name="T60" fmla="*/ 1024 w 1835"/>
                <a:gd name="T61" fmla="*/ 459 h 1966"/>
                <a:gd name="T62" fmla="*/ 995 w 1835"/>
                <a:gd name="T63" fmla="*/ 488 h 1966"/>
                <a:gd name="T64" fmla="*/ 966 w 1835"/>
                <a:gd name="T65" fmla="*/ 531 h 1966"/>
                <a:gd name="T66" fmla="*/ 953 w 1835"/>
                <a:gd name="T67" fmla="*/ 560 h 1966"/>
                <a:gd name="T68" fmla="*/ 908 w 1835"/>
                <a:gd name="T69" fmla="*/ 630 h 1966"/>
                <a:gd name="T70" fmla="*/ 807 w 1835"/>
                <a:gd name="T71" fmla="*/ 688 h 1966"/>
                <a:gd name="T72" fmla="*/ 807 w 1835"/>
                <a:gd name="T73" fmla="*/ 775 h 1966"/>
                <a:gd name="T74" fmla="*/ 720 w 1835"/>
                <a:gd name="T75" fmla="*/ 847 h 1966"/>
                <a:gd name="T76" fmla="*/ 706 w 1835"/>
                <a:gd name="T77" fmla="*/ 903 h 1966"/>
                <a:gd name="T78" fmla="*/ 664 w 1835"/>
                <a:gd name="T79" fmla="*/ 1004 h 1966"/>
                <a:gd name="T80" fmla="*/ 576 w 1835"/>
                <a:gd name="T81" fmla="*/ 1033 h 1966"/>
                <a:gd name="T82" fmla="*/ 491 w 1835"/>
                <a:gd name="T83" fmla="*/ 1121 h 1966"/>
                <a:gd name="T84" fmla="*/ 390 w 1835"/>
                <a:gd name="T85" fmla="*/ 1177 h 1966"/>
                <a:gd name="T86" fmla="*/ 332 w 1835"/>
                <a:gd name="T87" fmla="*/ 1220 h 1966"/>
                <a:gd name="T88" fmla="*/ 245 w 1835"/>
                <a:gd name="T89" fmla="*/ 1249 h 1966"/>
                <a:gd name="T90" fmla="*/ 173 w 1835"/>
                <a:gd name="T91" fmla="*/ 1291 h 1966"/>
                <a:gd name="T92" fmla="*/ 115 w 1835"/>
                <a:gd name="T93" fmla="*/ 1334 h 1966"/>
                <a:gd name="T94" fmla="*/ 86 w 1835"/>
                <a:gd name="T95" fmla="*/ 1408 h 1966"/>
                <a:gd name="T96" fmla="*/ 57 w 1835"/>
                <a:gd name="T97" fmla="*/ 1448 h 1966"/>
                <a:gd name="T98" fmla="*/ 43 w 1835"/>
                <a:gd name="T99" fmla="*/ 1551 h 1966"/>
                <a:gd name="T100" fmla="*/ 130 w 1835"/>
                <a:gd name="T101" fmla="*/ 1594 h 1966"/>
                <a:gd name="T102" fmla="*/ 43 w 1835"/>
                <a:gd name="T103" fmla="*/ 1681 h 1966"/>
                <a:gd name="T104" fmla="*/ 72 w 1835"/>
                <a:gd name="T105" fmla="*/ 1737 h 1966"/>
                <a:gd name="T106" fmla="*/ 29 w 1835"/>
                <a:gd name="T107" fmla="*/ 1852 h 1966"/>
                <a:gd name="T108" fmla="*/ 157 w 1835"/>
                <a:gd name="T109" fmla="*/ 1966 h 1966"/>
                <a:gd name="T110" fmla="*/ 332 w 1835"/>
                <a:gd name="T111" fmla="*/ 1881 h 1966"/>
                <a:gd name="T112" fmla="*/ 446 w 1835"/>
                <a:gd name="T113" fmla="*/ 1809 h 1966"/>
                <a:gd name="T114" fmla="*/ 491 w 1835"/>
                <a:gd name="T115" fmla="*/ 1751 h 1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35" h="1966">
                  <a:moveTo>
                    <a:pt x="507" y="1838"/>
                  </a:moveTo>
                  <a:lnTo>
                    <a:pt x="520" y="1838"/>
                  </a:lnTo>
                  <a:lnTo>
                    <a:pt x="520" y="1852"/>
                  </a:lnTo>
                  <a:lnTo>
                    <a:pt x="534" y="1867"/>
                  </a:lnTo>
                  <a:lnTo>
                    <a:pt x="549" y="1852"/>
                  </a:lnTo>
                  <a:lnTo>
                    <a:pt x="549" y="1838"/>
                  </a:lnTo>
                  <a:lnTo>
                    <a:pt x="549" y="1823"/>
                  </a:lnTo>
                  <a:lnTo>
                    <a:pt x="534" y="1809"/>
                  </a:lnTo>
                  <a:lnTo>
                    <a:pt x="563" y="1780"/>
                  </a:lnTo>
                  <a:lnTo>
                    <a:pt x="563" y="1766"/>
                  </a:lnTo>
                  <a:lnTo>
                    <a:pt x="578" y="1751"/>
                  </a:lnTo>
                  <a:lnTo>
                    <a:pt x="578" y="1737"/>
                  </a:lnTo>
                  <a:lnTo>
                    <a:pt x="592" y="1722"/>
                  </a:lnTo>
                  <a:lnTo>
                    <a:pt x="607" y="1722"/>
                  </a:lnTo>
                  <a:lnTo>
                    <a:pt x="621" y="1722"/>
                  </a:lnTo>
                  <a:lnTo>
                    <a:pt x="635" y="1681"/>
                  </a:lnTo>
                  <a:lnTo>
                    <a:pt x="635" y="1636"/>
                  </a:lnTo>
                  <a:lnTo>
                    <a:pt x="635" y="1623"/>
                  </a:lnTo>
                  <a:lnTo>
                    <a:pt x="635" y="1607"/>
                  </a:lnTo>
                  <a:lnTo>
                    <a:pt x="621" y="1580"/>
                  </a:lnTo>
                  <a:lnTo>
                    <a:pt x="621" y="1565"/>
                  </a:lnTo>
                  <a:lnTo>
                    <a:pt x="666" y="1536"/>
                  </a:lnTo>
                  <a:lnTo>
                    <a:pt x="666" y="1522"/>
                  </a:lnTo>
                  <a:lnTo>
                    <a:pt x="666" y="1493"/>
                  </a:lnTo>
                  <a:lnTo>
                    <a:pt x="666" y="1477"/>
                  </a:lnTo>
                  <a:lnTo>
                    <a:pt x="650" y="1464"/>
                  </a:lnTo>
                  <a:lnTo>
                    <a:pt x="635" y="1448"/>
                  </a:lnTo>
                  <a:lnTo>
                    <a:pt x="635" y="1435"/>
                  </a:lnTo>
                  <a:lnTo>
                    <a:pt x="635" y="1421"/>
                  </a:lnTo>
                  <a:lnTo>
                    <a:pt x="650" y="1392"/>
                  </a:lnTo>
                  <a:lnTo>
                    <a:pt x="650" y="1379"/>
                  </a:lnTo>
                  <a:lnTo>
                    <a:pt x="650" y="1349"/>
                  </a:lnTo>
                  <a:lnTo>
                    <a:pt x="635" y="1334"/>
                  </a:lnTo>
                  <a:lnTo>
                    <a:pt x="635" y="1320"/>
                  </a:lnTo>
                  <a:lnTo>
                    <a:pt x="635" y="1291"/>
                  </a:lnTo>
                  <a:lnTo>
                    <a:pt x="650" y="1278"/>
                  </a:lnTo>
                  <a:lnTo>
                    <a:pt x="650" y="1249"/>
                  </a:lnTo>
                  <a:lnTo>
                    <a:pt x="650" y="1220"/>
                  </a:lnTo>
                  <a:lnTo>
                    <a:pt x="650" y="1190"/>
                  </a:lnTo>
                  <a:lnTo>
                    <a:pt x="666" y="1163"/>
                  </a:lnTo>
                  <a:lnTo>
                    <a:pt x="679" y="1148"/>
                  </a:lnTo>
                  <a:lnTo>
                    <a:pt x="708" y="1134"/>
                  </a:lnTo>
                  <a:lnTo>
                    <a:pt x="708" y="1148"/>
                  </a:lnTo>
                  <a:lnTo>
                    <a:pt x="722" y="1148"/>
                  </a:lnTo>
                  <a:lnTo>
                    <a:pt x="737" y="1134"/>
                  </a:lnTo>
                  <a:lnTo>
                    <a:pt x="751" y="1121"/>
                  </a:lnTo>
                  <a:lnTo>
                    <a:pt x="766" y="1121"/>
                  </a:lnTo>
                  <a:lnTo>
                    <a:pt x="796" y="1121"/>
                  </a:lnTo>
                  <a:lnTo>
                    <a:pt x="809" y="1105"/>
                  </a:lnTo>
                  <a:lnTo>
                    <a:pt x="796" y="1076"/>
                  </a:lnTo>
                  <a:lnTo>
                    <a:pt x="796" y="1062"/>
                  </a:lnTo>
                  <a:lnTo>
                    <a:pt x="796" y="1047"/>
                  </a:lnTo>
                  <a:lnTo>
                    <a:pt x="780" y="1020"/>
                  </a:lnTo>
                  <a:lnTo>
                    <a:pt x="796" y="1004"/>
                  </a:lnTo>
                  <a:lnTo>
                    <a:pt x="823" y="991"/>
                  </a:lnTo>
                  <a:lnTo>
                    <a:pt x="823" y="977"/>
                  </a:lnTo>
                  <a:lnTo>
                    <a:pt x="838" y="932"/>
                  </a:lnTo>
                  <a:lnTo>
                    <a:pt x="838" y="919"/>
                  </a:lnTo>
                  <a:lnTo>
                    <a:pt x="838" y="903"/>
                  </a:lnTo>
                  <a:lnTo>
                    <a:pt x="838" y="874"/>
                  </a:lnTo>
                  <a:lnTo>
                    <a:pt x="852" y="861"/>
                  </a:lnTo>
                  <a:lnTo>
                    <a:pt x="865" y="832"/>
                  </a:lnTo>
                  <a:lnTo>
                    <a:pt x="865" y="803"/>
                  </a:lnTo>
                  <a:lnTo>
                    <a:pt x="896" y="789"/>
                  </a:lnTo>
                  <a:lnTo>
                    <a:pt x="924" y="775"/>
                  </a:lnTo>
                  <a:lnTo>
                    <a:pt x="937" y="762"/>
                  </a:lnTo>
                  <a:lnTo>
                    <a:pt x="937" y="748"/>
                  </a:lnTo>
                  <a:lnTo>
                    <a:pt x="937" y="717"/>
                  </a:lnTo>
                  <a:lnTo>
                    <a:pt x="966" y="704"/>
                  </a:lnTo>
                  <a:lnTo>
                    <a:pt x="995" y="675"/>
                  </a:lnTo>
                  <a:lnTo>
                    <a:pt x="995" y="659"/>
                  </a:lnTo>
                  <a:lnTo>
                    <a:pt x="1011" y="645"/>
                  </a:lnTo>
                  <a:lnTo>
                    <a:pt x="995" y="616"/>
                  </a:lnTo>
                  <a:lnTo>
                    <a:pt x="982" y="603"/>
                  </a:lnTo>
                  <a:lnTo>
                    <a:pt x="995" y="587"/>
                  </a:lnTo>
                  <a:lnTo>
                    <a:pt x="1011" y="574"/>
                  </a:lnTo>
                  <a:lnTo>
                    <a:pt x="1053" y="545"/>
                  </a:lnTo>
                  <a:lnTo>
                    <a:pt x="1053" y="531"/>
                  </a:lnTo>
                  <a:lnTo>
                    <a:pt x="1069" y="502"/>
                  </a:lnTo>
                  <a:lnTo>
                    <a:pt x="1083" y="502"/>
                  </a:lnTo>
                  <a:lnTo>
                    <a:pt x="1112" y="516"/>
                  </a:lnTo>
                  <a:lnTo>
                    <a:pt x="1125" y="516"/>
                  </a:lnTo>
                  <a:lnTo>
                    <a:pt x="1125" y="502"/>
                  </a:lnTo>
                  <a:lnTo>
                    <a:pt x="1125" y="473"/>
                  </a:lnTo>
                  <a:lnTo>
                    <a:pt x="1154" y="459"/>
                  </a:lnTo>
                  <a:lnTo>
                    <a:pt x="1168" y="473"/>
                  </a:lnTo>
                  <a:lnTo>
                    <a:pt x="1183" y="473"/>
                  </a:lnTo>
                  <a:lnTo>
                    <a:pt x="1183" y="459"/>
                  </a:lnTo>
                  <a:lnTo>
                    <a:pt x="1197" y="415"/>
                  </a:lnTo>
                  <a:lnTo>
                    <a:pt x="1226" y="430"/>
                  </a:lnTo>
                  <a:lnTo>
                    <a:pt x="1226" y="415"/>
                  </a:lnTo>
                  <a:lnTo>
                    <a:pt x="1226" y="388"/>
                  </a:lnTo>
                  <a:lnTo>
                    <a:pt x="1226" y="372"/>
                  </a:lnTo>
                  <a:lnTo>
                    <a:pt x="1255" y="372"/>
                  </a:lnTo>
                  <a:lnTo>
                    <a:pt x="1255" y="343"/>
                  </a:lnTo>
                  <a:lnTo>
                    <a:pt x="1269" y="316"/>
                  </a:lnTo>
                  <a:lnTo>
                    <a:pt x="1284" y="316"/>
                  </a:lnTo>
                  <a:lnTo>
                    <a:pt x="1298" y="329"/>
                  </a:lnTo>
                  <a:lnTo>
                    <a:pt x="1329" y="343"/>
                  </a:lnTo>
                  <a:lnTo>
                    <a:pt x="1329" y="358"/>
                  </a:lnTo>
                  <a:lnTo>
                    <a:pt x="1342" y="388"/>
                  </a:lnTo>
                  <a:lnTo>
                    <a:pt x="1358" y="388"/>
                  </a:lnTo>
                  <a:lnTo>
                    <a:pt x="1372" y="388"/>
                  </a:lnTo>
                  <a:lnTo>
                    <a:pt x="1385" y="401"/>
                  </a:lnTo>
                  <a:lnTo>
                    <a:pt x="1430" y="401"/>
                  </a:lnTo>
                  <a:lnTo>
                    <a:pt x="1443" y="388"/>
                  </a:lnTo>
                  <a:lnTo>
                    <a:pt x="1457" y="388"/>
                  </a:lnTo>
                  <a:lnTo>
                    <a:pt x="1472" y="415"/>
                  </a:lnTo>
                  <a:lnTo>
                    <a:pt x="1501" y="401"/>
                  </a:lnTo>
                  <a:lnTo>
                    <a:pt x="1515" y="401"/>
                  </a:lnTo>
                  <a:lnTo>
                    <a:pt x="1515" y="388"/>
                  </a:lnTo>
                  <a:lnTo>
                    <a:pt x="1531" y="358"/>
                  </a:lnTo>
                  <a:lnTo>
                    <a:pt x="1544" y="343"/>
                  </a:lnTo>
                  <a:lnTo>
                    <a:pt x="1544" y="329"/>
                  </a:lnTo>
                  <a:lnTo>
                    <a:pt x="1544" y="316"/>
                  </a:lnTo>
                  <a:lnTo>
                    <a:pt x="1544" y="302"/>
                  </a:lnTo>
                  <a:lnTo>
                    <a:pt x="1558" y="273"/>
                  </a:lnTo>
                  <a:lnTo>
                    <a:pt x="1558" y="215"/>
                  </a:lnTo>
                  <a:lnTo>
                    <a:pt x="1573" y="201"/>
                  </a:lnTo>
                  <a:lnTo>
                    <a:pt x="1602" y="201"/>
                  </a:lnTo>
                  <a:lnTo>
                    <a:pt x="1631" y="186"/>
                  </a:lnTo>
                  <a:lnTo>
                    <a:pt x="1645" y="172"/>
                  </a:lnTo>
                  <a:lnTo>
                    <a:pt x="1661" y="172"/>
                  </a:lnTo>
                  <a:lnTo>
                    <a:pt x="1645" y="201"/>
                  </a:lnTo>
                  <a:lnTo>
                    <a:pt x="1690" y="215"/>
                  </a:lnTo>
                  <a:lnTo>
                    <a:pt x="1703" y="215"/>
                  </a:lnTo>
                  <a:lnTo>
                    <a:pt x="1717" y="229"/>
                  </a:lnTo>
                  <a:lnTo>
                    <a:pt x="1732" y="244"/>
                  </a:lnTo>
                  <a:lnTo>
                    <a:pt x="1732" y="258"/>
                  </a:lnTo>
                  <a:lnTo>
                    <a:pt x="1717" y="273"/>
                  </a:lnTo>
                  <a:lnTo>
                    <a:pt x="1717" y="302"/>
                  </a:lnTo>
                  <a:lnTo>
                    <a:pt x="1717" y="316"/>
                  </a:lnTo>
                  <a:lnTo>
                    <a:pt x="1717" y="329"/>
                  </a:lnTo>
                  <a:lnTo>
                    <a:pt x="1717" y="343"/>
                  </a:lnTo>
                  <a:lnTo>
                    <a:pt x="1732" y="343"/>
                  </a:lnTo>
                  <a:lnTo>
                    <a:pt x="1732" y="343"/>
                  </a:lnTo>
                  <a:lnTo>
                    <a:pt x="1738" y="293"/>
                  </a:lnTo>
                  <a:lnTo>
                    <a:pt x="1757" y="260"/>
                  </a:lnTo>
                  <a:lnTo>
                    <a:pt x="1789" y="240"/>
                  </a:lnTo>
                  <a:lnTo>
                    <a:pt x="1821" y="234"/>
                  </a:lnTo>
                  <a:lnTo>
                    <a:pt x="1835" y="184"/>
                  </a:lnTo>
                  <a:lnTo>
                    <a:pt x="1831" y="186"/>
                  </a:lnTo>
                  <a:lnTo>
                    <a:pt x="1802" y="186"/>
                  </a:lnTo>
                  <a:lnTo>
                    <a:pt x="1789" y="186"/>
                  </a:lnTo>
                  <a:lnTo>
                    <a:pt x="1802" y="172"/>
                  </a:lnTo>
                  <a:lnTo>
                    <a:pt x="1802" y="143"/>
                  </a:lnTo>
                  <a:lnTo>
                    <a:pt x="1789" y="128"/>
                  </a:lnTo>
                  <a:lnTo>
                    <a:pt x="1802" y="128"/>
                  </a:lnTo>
                  <a:lnTo>
                    <a:pt x="1818" y="114"/>
                  </a:lnTo>
                  <a:lnTo>
                    <a:pt x="1818" y="99"/>
                  </a:lnTo>
                  <a:lnTo>
                    <a:pt x="1818" y="85"/>
                  </a:lnTo>
                  <a:lnTo>
                    <a:pt x="1802" y="85"/>
                  </a:lnTo>
                  <a:lnTo>
                    <a:pt x="1802" y="70"/>
                  </a:lnTo>
                  <a:lnTo>
                    <a:pt x="1773" y="70"/>
                  </a:lnTo>
                  <a:lnTo>
                    <a:pt x="1746" y="85"/>
                  </a:lnTo>
                  <a:lnTo>
                    <a:pt x="1746" y="56"/>
                  </a:lnTo>
                  <a:lnTo>
                    <a:pt x="1717" y="56"/>
                  </a:lnTo>
                  <a:lnTo>
                    <a:pt x="1701" y="42"/>
                  </a:lnTo>
                  <a:lnTo>
                    <a:pt x="1672" y="70"/>
                  </a:lnTo>
                  <a:lnTo>
                    <a:pt x="1672" y="85"/>
                  </a:lnTo>
                  <a:lnTo>
                    <a:pt x="1661" y="99"/>
                  </a:lnTo>
                  <a:lnTo>
                    <a:pt x="1645" y="70"/>
                  </a:lnTo>
                  <a:lnTo>
                    <a:pt x="1645" y="56"/>
                  </a:lnTo>
                  <a:lnTo>
                    <a:pt x="1661" y="42"/>
                  </a:lnTo>
                  <a:lnTo>
                    <a:pt x="1661" y="29"/>
                  </a:lnTo>
                  <a:lnTo>
                    <a:pt x="1661" y="0"/>
                  </a:lnTo>
                  <a:lnTo>
                    <a:pt x="1645" y="0"/>
                  </a:lnTo>
                  <a:lnTo>
                    <a:pt x="1616" y="29"/>
                  </a:lnTo>
                  <a:lnTo>
                    <a:pt x="1616" y="42"/>
                  </a:lnTo>
                  <a:lnTo>
                    <a:pt x="1587" y="56"/>
                  </a:lnTo>
                  <a:lnTo>
                    <a:pt x="1587" y="99"/>
                  </a:lnTo>
                  <a:lnTo>
                    <a:pt x="1587" y="114"/>
                  </a:lnTo>
                  <a:lnTo>
                    <a:pt x="1571" y="99"/>
                  </a:lnTo>
                  <a:lnTo>
                    <a:pt x="1571" y="85"/>
                  </a:lnTo>
                  <a:lnTo>
                    <a:pt x="1558" y="70"/>
                  </a:lnTo>
                  <a:lnTo>
                    <a:pt x="1558" y="56"/>
                  </a:lnTo>
                  <a:lnTo>
                    <a:pt x="1558" y="42"/>
                  </a:lnTo>
                  <a:lnTo>
                    <a:pt x="1558" y="29"/>
                  </a:lnTo>
                  <a:lnTo>
                    <a:pt x="1542" y="29"/>
                  </a:lnTo>
                  <a:lnTo>
                    <a:pt x="1542" y="42"/>
                  </a:lnTo>
                  <a:lnTo>
                    <a:pt x="1542" y="56"/>
                  </a:lnTo>
                  <a:lnTo>
                    <a:pt x="1529" y="85"/>
                  </a:lnTo>
                  <a:lnTo>
                    <a:pt x="1513" y="114"/>
                  </a:lnTo>
                  <a:lnTo>
                    <a:pt x="1500" y="143"/>
                  </a:lnTo>
                  <a:lnTo>
                    <a:pt x="1500" y="128"/>
                  </a:lnTo>
                  <a:lnTo>
                    <a:pt x="1500" y="114"/>
                  </a:lnTo>
                  <a:lnTo>
                    <a:pt x="1500" y="85"/>
                  </a:lnTo>
                  <a:lnTo>
                    <a:pt x="1529" y="70"/>
                  </a:lnTo>
                  <a:lnTo>
                    <a:pt x="1529" y="56"/>
                  </a:lnTo>
                  <a:lnTo>
                    <a:pt x="1542" y="29"/>
                  </a:lnTo>
                  <a:lnTo>
                    <a:pt x="1558" y="15"/>
                  </a:lnTo>
                  <a:lnTo>
                    <a:pt x="1542" y="0"/>
                  </a:lnTo>
                  <a:lnTo>
                    <a:pt x="1500" y="29"/>
                  </a:lnTo>
                  <a:lnTo>
                    <a:pt x="1484" y="15"/>
                  </a:lnTo>
                  <a:lnTo>
                    <a:pt x="1472" y="29"/>
                  </a:lnTo>
                  <a:lnTo>
                    <a:pt x="1472" y="42"/>
                  </a:lnTo>
                  <a:lnTo>
                    <a:pt x="1500" y="56"/>
                  </a:lnTo>
                  <a:lnTo>
                    <a:pt x="1457" y="70"/>
                  </a:lnTo>
                  <a:lnTo>
                    <a:pt x="1441" y="56"/>
                  </a:lnTo>
                  <a:lnTo>
                    <a:pt x="1428" y="70"/>
                  </a:lnTo>
                  <a:lnTo>
                    <a:pt x="1428" y="99"/>
                  </a:lnTo>
                  <a:lnTo>
                    <a:pt x="1414" y="99"/>
                  </a:lnTo>
                  <a:lnTo>
                    <a:pt x="1428" y="114"/>
                  </a:lnTo>
                  <a:lnTo>
                    <a:pt x="1399" y="143"/>
                  </a:lnTo>
                  <a:lnTo>
                    <a:pt x="1385" y="114"/>
                  </a:lnTo>
                  <a:lnTo>
                    <a:pt x="1372" y="128"/>
                  </a:lnTo>
                  <a:lnTo>
                    <a:pt x="1372" y="143"/>
                  </a:lnTo>
                  <a:lnTo>
                    <a:pt x="1372" y="157"/>
                  </a:lnTo>
                  <a:lnTo>
                    <a:pt x="1356" y="172"/>
                  </a:lnTo>
                  <a:lnTo>
                    <a:pt x="1342" y="157"/>
                  </a:lnTo>
                  <a:lnTo>
                    <a:pt x="1327" y="157"/>
                  </a:lnTo>
                  <a:lnTo>
                    <a:pt x="1327" y="172"/>
                  </a:lnTo>
                  <a:lnTo>
                    <a:pt x="1313" y="157"/>
                  </a:lnTo>
                  <a:lnTo>
                    <a:pt x="1298" y="157"/>
                  </a:lnTo>
                  <a:lnTo>
                    <a:pt x="1284" y="172"/>
                  </a:lnTo>
                  <a:lnTo>
                    <a:pt x="1284" y="186"/>
                  </a:lnTo>
                  <a:lnTo>
                    <a:pt x="1269" y="186"/>
                  </a:lnTo>
                  <a:lnTo>
                    <a:pt x="1255" y="201"/>
                  </a:lnTo>
                  <a:lnTo>
                    <a:pt x="1255" y="229"/>
                  </a:lnTo>
                  <a:lnTo>
                    <a:pt x="1269" y="244"/>
                  </a:lnTo>
                  <a:lnTo>
                    <a:pt x="1269" y="273"/>
                  </a:lnTo>
                  <a:lnTo>
                    <a:pt x="1255" y="258"/>
                  </a:lnTo>
                  <a:lnTo>
                    <a:pt x="1240" y="244"/>
                  </a:lnTo>
                  <a:lnTo>
                    <a:pt x="1226" y="244"/>
                  </a:lnTo>
                  <a:lnTo>
                    <a:pt x="1211" y="273"/>
                  </a:lnTo>
                  <a:lnTo>
                    <a:pt x="1197" y="244"/>
                  </a:lnTo>
                  <a:lnTo>
                    <a:pt x="1183" y="258"/>
                  </a:lnTo>
                  <a:lnTo>
                    <a:pt x="1183" y="287"/>
                  </a:lnTo>
                  <a:lnTo>
                    <a:pt x="1197" y="316"/>
                  </a:lnTo>
                  <a:lnTo>
                    <a:pt x="1197" y="329"/>
                  </a:lnTo>
                  <a:lnTo>
                    <a:pt x="1183" y="316"/>
                  </a:lnTo>
                  <a:lnTo>
                    <a:pt x="1168" y="287"/>
                  </a:lnTo>
                  <a:lnTo>
                    <a:pt x="1168" y="316"/>
                  </a:lnTo>
                  <a:lnTo>
                    <a:pt x="1154" y="343"/>
                  </a:lnTo>
                  <a:lnTo>
                    <a:pt x="1139" y="329"/>
                  </a:lnTo>
                  <a:lnTo>
                    <a:pt x="1139" y="302"/>
                  </a:lnTo>
                  <a:lnTo>
                    <a:pt x="1125" y="316"/>
                  </a:lnTo>
                  <a:lnTo>
                    <a:pt x="1125" y="358"/>
                  </a:lnTo>
                  <a:lnTo>
                    <a:pt x="1110" y="358"/>
                  </a:lnTo>
                  <a:lnTo>
                    <a:pt x="1096" y="358"/>
                  </a:lnTo>
                  <a:lnTo>
                    <a:pt x="1083" y="372"/>
                  </a:lnTo>
                  <a:lnTo>
                    <a:pt x="1096" y="388"/>
                  </a:lnTo>
                  <a:lnTo>
                    <a:pt x="1083" y="401"/>
                  </a:lnTo>
                  <a:lnTo>
                    <a:pt x="1067" y="415"/>
                  </a:lnTo>
                  <a:lnTo>
                    <a:pt x="1067" y="430"/>
                  </a:lnTo>
                  <a:lnTo>
                    <a:pt x="1083" y="444"/>
                  </a:lnTo>
                  <a:lnTo>
                    <a:pt x="1067" y="459"/>
                  </a:lnTo>
                  <a:lnTo>
                    <a:pt x="1024" y="459"/>
                  </a:lnTo>
                  <a:lnTo>
                    <a:pt x="1024" y="444"/>
                  </a:lnTo>
                  <a:lnTo>
                    <a:pt x="1009" y="459"/>
                  </a:lnTo>
                  <a:lnTo>
                    <a:pt x="1009" y="473"/>
                  </a:lnTo>
                  <a:lnTo>
                    <a:pt x="1009" y="502"/>
                  </a:lnTo>
                  <a:lnTo>
                    <a:pt x="1009" y="516"/>
                  </a:lnTo>
                  <a:lnTo>
                    <a:pt x="995" y="545"/>
                  </a:lnTo>
                  <a:lnTo>
                    <a:pt x="995" y="516"/>
                  </a:lnTo>
                  <a:lnTo>
                    <a:pt x="995" y="488"/>
                  </a:lnTo>
                  <a:lnTo>
                    <a:pt x="995" y="473"/>
                  </a:lnTo>
                  <a:lnTo>
                    <a:pt x="982" y="488"/>
                  </a:lnTo>
                  <a:lnTo>
                    <a:pt x="966" y="488"/>
                  </a:lnTo>
                  <a:lnTo>
                    <a:pt x="953" y="488"/>
                  </a:lnTo>
                  <a:lnTo>
                    <a:pt x="937" y="502"/>
                  </a:lnTo>
                  <a:lnTo>
                    <a:pt x="953" y="502"/>
                  </a:lnTo>
                  <a:lnTo>
                    <a:pt x="966" y="516"/>
                  </a:lnTo>
                  <a:lnTo>
                    <a:pt x="966" y="531"/>
                  </a:lnTo>
                  <a:lnTo>
                    <a:pt x="953" y="516"/>
                  </a:lnTo>
                  <a:lnTo>
                    <a:pt x="937" y="531"/>
                  </a:lnTo>
                  <a:lnTo>
                    <a:pt x="922" y="516"/>
                  </a:lnTo>
                  <a:lnTo>
                    <a:pt x="908" y="516"/>
                  </a:lnTo>
                  <a:lnTo>
                    <a:pt x="908" y="545"/>
                  </a:lnTo>
                  <a:lnTo>
                    <a:pt x="894" y="560"/>
                  </a:lnTo>
                  <a:lnTo>
                    <a:pt x="937" y="545"/>
                  </a:lnTo>
                  <a:lnTo>
                    <a:pt x="953" y="560"/>
                  </a:lnTo>
                  <a:lnTo>
                    <a:pt x="953" y="574"/>
                  </a:lnTo>
                  <a:lnTo>
                    <a:pt x="922" y="574"/>
                  </a:lnTo>
                  <a:lnTo>
                    <a:pt x="908" y="574"/>
                  </a:lnTo>
                  <a:lnTo>
                    <a:pt x="894" y="587"/>
                  </a:lnTo>
                  <a:lnTo>
                    <a:pt x="894" y="603"/>
                  </a:lnTo>
                  <a:lnTo>
                    <a:pt x="922" y="603"/>
                  </a:lnTo>
                  <a:lnTo>
                    <a:pt x="922" y="630"/>
                  </a:lnTo>
                  <a:lnTo>
                    <a:pt x="908" y="630"/>
                  </a:lnTo>
                  <a:lnTo>
                    <a:pt x="894" y="630"/>
                  </a:lnTo>
                  <a:lnTo>
                    <a:pt x="879" y="645"/>
                  </a:lnTo>
                  <a:lnTo>
                    <a:pt x="865" y="659"/>
                  </a:lnTo>
                  <a:lnTo>
                    <a:pt x="836" y="645"/>
                  </a:lnTo>
                  <a:lnTo>
                    <a:pt x="823" y="659"/>
                  </a:lnTo>
                  <a:lnTo>
                    <a:pt x="823" y="675"/>
                  </a:lnTo>
                  <a:lnTo>
                    <a:pt x="823" y="688"/>
                  </a:lnTo>
                  <a:lnTo>
                    <a:pt x="807" y="688"/>
                  </a:lnTo>
                  <a:lnTo>
                    <a:pt x="794" y="704"/>
                  </a:lnTo>
                  <a:lnTo>
                    <a:pt x="807" y="717"/>
                  </a:lnTo>
                  <a:lnTo>
                    <a:pt x="794" y="733"/>
                  </a:lnTo>
                  <a:lnTo>
                    <a:pt x="765" y="733"/>
                  </a:lnTo>
                  <a:lnTo>
                    <a:pt x="778" y="748"/>
                  </a:lnTo>
                  <a:lnTo>
                    <a:pt x="794" y="762"/>
                  </a:lnTo>
                  <a:lnTo>
                    <a:pt x="807" y="748"/>
                  </a:lnTo>
                  <a:lnTo>
                    <a:pt x="807" y="775"/>
                  </a:lnTo>
                  <a:lnTo>
                    <a:pt x="778" y="775"/>
                  </a:lnTo>
                  <a:lnTo>
                    <a:pt x="765" y="775"/>
                  </a:lnTo>
                  <a:lnTo>
                    <a:pt x="765" y="789"/>
                  </a:lnTo>
                  <a:lnTo>
                    <a:pt x="778" y="803"/>
                  </a:lnTo>
                  <a:lnTo>
                    <a:pt x="765" y="818"/>
                  </a:lnTo>
                  <a:lnTo>
                    <a:pt x="749" y="818"/>
                  </a:lnTo>
                  <a:lnTo>
                    <a:pt x="735" y="832"/>
                  </a:lnTo>
                  <a:lnTo>
                    <a:pt x="720" y="847"/>
                  </a:lnTo>
                  <a:lnTo>
                    <a:pt x="735" y="861"/>
                  </a:lnTo>
                  <a:lnTo>
                    <a:pt x="735" y="874"/>
                  </a:lnTo>
                  <a:lnTo>
                    <a:pt x="720" y="890"/>
                  </a:lnTo>
                  <a:lnTo>
                    <a:pt x="706" y="874"/>
                  </a:lnTo>
                  <a:lnTo>
                    <a:pt x="706" y="861"/>
                  </a:lnTo>
                  <a:lnTo>
                    <a:pt x="693" y="890"/>
                  </a:lnTo>
                  <a:lnTo>
                    <a:pt x="693" y="903"/>
                  </a:lnTo>
                  <a:lnTo>
                    <a:pt x="706" y="903"/>
                  </a:lnTo>
                  <a:lnTo>
                    <a:pt x="706" y="932"/>
                  </a:lnTo>
                  <a:lnTo>
                    <a:pt x="693" y="948"/>
                  </a:lnTo>
                  <a:lnTo>
                    <a:pt x="677" y="948"/>
                  </a:lnTo>
                  <a:lnTo>
                    <a:pt x="677" y="977"/>
                  </a:lnTo>
                  <a:lnTo>
                    <a:pt x="664" y="991"/>
                  </a:lnTo>
                  <a:lnTo>
                    <a:pt x="648" y="991"/>
                  </a:lnTo>
                  <a:lnTo>
                    <a:pt x="648" y="1004"/>
                  </a:lnTo>
                  <a:lnTo>
                    <a:pt x="664" y="1004"/>
                  </a:lnTo>
                  <a:lnTo>
                    <a:pt x="664" y="1020"/>
                  </a:lnTo>
                  <a:lnTo>
                    <a:pt x="664" y="1033"/>
                  </a:lnTo>
                  <a:lnTo>
                    <a:pt x="648" y="1047"/>
                  </a:lnTo>
                  <a:lnTo>
                    <a:pt x="619" y="1033"/>
                  </a:lnTo>
                  <a:lnTo>
                    <a:pt x="619" y="1020"/>
                  </a:lnTo>
                  <a:lnTo>
                    <a:pt x="605" y="1004"/>
                  </a:lnTo>
                  <a:lnTo>
                    <a:pt x="590" y="1020"/>
                  </a:lnTo>
                  <a:lnTo>
                    <a:pt x="576" y="1033"/>
                  </a:lnTo>
                  <a:lnTo>
                    <a:pt x="563" y="1033"/>
                  </a:lnTo>
                  <a:lnTo>
                    <a:pt x="547" y="1033"/>
                  </a:lnTo>
                  <a:lnTo>
                    <a:pt x="547" y="1062"/>
                  </a:lnTo>
                  <a:lnTo>
                    <a:pt x="532" y="1076"/>
                  </a:lnTo>
                  <a:lnTo>
                    <a:pt x="520" y="1105"/>
                  </a:lnTo>
                  <a:lnTo>
                    <a:pt x="505" y="1105"/>
                  </a:lnTo>
                  <a:lnTo>
                    <a:pt x="491" y="1105"/>
                  </a:lnTo>
                  <a:lnTo>
                    <a:pt x="491" y="1121"/>
                  </a:lnTo>
                  <a:lnTo>
                    <a:pt x="491" y="1148"/>
                  </a:lnTo>
                  <a:lnTo>
                    <a:pt x="476" y="1134"/>
                  </a:lnTo>
                  <a:lnTo>
                    <a:pt x="462" y="1148"/>
                  </a:lnTo>
                  <a:lnTo>
                    <a:pt x="446" y="1163"/>
                  </a:lnTo>
                  <a:lnTo>
                    <a:pt x="433" y="1148"/>
                  </a:lnTo>
                  <a:lnTo>
                    <a:pt x="419" y="1163"/>
                  </a:lnTo>
                  <a:lnTo>
                    <a:pt x="404" y="1177"/>
                  </a:lnTo>
                  <a:lnTo>
                    <a:pt x="390" y="1177"/>
                  </a:lnTo>
                  <a:lnTo>
                    <a:pt x="390" y="1206"/>
                  </a:lnTo>
                  <a:lnTo>
                    <a:pt x="375" y="1190"/>
                  </a:lnTo>
                  <a:lnTo>
                    <a:pt x="361" y="1190"/>
                  </a:lnTo>
                  <a:lnTo>
                    <a:pt x="375" y="1206"/>
                  </a:lnTo>
                  <a:lnTo>
                    <a:pt x="375" y="1220"/>
                  </a:lnTo>
                  <a:lnTo>
                    <a:pt x="361" y="1220"/>
                  </a:lnTo>
                  <a:lnTo>
                    <a:pt x="346" y="1206"/>
                  </a:lnTo>
                  <a:lnTo>
                    <a:pt x="332" y="1220"/>
                  </a:lnTo>
                  <a:lnTo>
                    <a:pt x="317" y="1220"/>
                  </a:lnTo>
                  <a:lnTo>
                    <a:pt x="303" y="1220"/>
                  </a:lnTo>
                  <a:lnTo>
                    <a:pt x="287" y="1220"/>
                  </a:lnTo>
                  <a:lnTo>
                    <a:pt x="287" y="1233"/>
                  </a:lnTo>
                  <a:lnTo>
                    <a:pt x="303" y="1262"/>
                  </a:lnTo>
                  <a:lnTo>
                    <a:pt x="287" y="1262"/>
                  </a:lnTo>
                  <a:lnTo>
                    <a:pt x="274" y="1262"/>
                  </a:lnTo>
                  <a:lnTo>
                    <a:pt x="245" y="1249"/>
                  </a:lnTo>
                  <a:lnTo>
                    <a:pt x="231" y="1249"/>
                  </a:lnTo>
                  <a:lnTo>
                    <a:pt x="218" y="1262"/>
                  </a:lnTo>
                  <a:lnTo>
                    <a:pt x="231" y="1278"/>
                  </a:lnTo>
                  <a:lnTo>
                    <a:pt x="231" y="1291"/>
                  </a:lnTo>
                  <a:lnTo>
                    <a:pt x="218" y="1291"/>
                  </a:lnTo>
                  <a:lnTo>
                    <a:pt x="187" y="1291"/>
                  </a:lnTo>
                  <a:lnTo>
                    <a:pt x="173" y="1320"/>
                  </a:lnTo>
                  <a:lnTo>
                    <a:pt x="173" y="1291"/>
                  </a:lnTo>
                  <a:lnTo>
                    <a:pt x="157" y="1291"/>
                  </a:lnTo>
                  <a:lnTo>
                    <a:pt x="144" y="1307"/>
                  </a:lnTo>
                  <a:lnTo>
                    <a:pt x="130" y="1291"/>
                  </a:lnTo>
                  <a:lnTo>
                    <a:pt x="115" y="1291"/>
                  </a:lnTo>
                  <a:lnTo>
                    <a:pt x="101" y="1291"/>
                  </a:lnTo>
                  <a:lnTo>
                    <a:pt x="101" y="1307"/>
                  </a:lnTo>
                  <a:lnTo>
                    <a:pt x="101" y="1320"/>
                  </a:lnTo>
                  <a:lnTo>
                    <a:pt x="115" y="1334"/>
                  </a:lnTo>
                  <a:lnTo>
                    <a:pt x="130" y="1334"/>
                  </a:lnTo>
                  <a:lnTo>
                    <a:pt x="130" y="1349"/>
                  </a:lnTo>
                  <a:lnTo>
                    <a:pt x="115" y="1349"/>
                  </a:lnTo>
                  <a:lnTo>
                    <a:pt x="101" y="1363"/>
                  </a:lnTo>
                  <a:lnTo>
                    <a:pt x="72" y="1363"/>
                  </a:lnTo>
                  <a:lnTo>
                    <a:pt x="72" y="1379"/>
                  </a:lnTo>
                  <a:lnTo>
                    <a:pt x="86" y="1392"/>
                  </a:lnTo>
                  <a:lnTo>
                    <a:pt x="86" y="1408"/>
                  </a:lnTo>
                  <a:lnTo>
                    <a:pt x="57" y="1392"/>
                  </a:lnTo>
                  <a:lnTo>
                    <a:pt x="57" y="1408"/>
                  </a:lnTo>
                  <a:lnTo>
                    <a:pt x="57" y="1421"/>
                  </a:lnTo>
                  <a:lnTo>
                    <a:pt x="72" y="1448"/>
                  </a:lnTo>
                  <a:lnTo>
                    <a:pt x="101" y="1448"/>
                  </a:lnTo>
                  <a:lnTo>
                    <a:pt x="101" y="1464"/>
                  </a:lnTo>
                  <a:lnTo>
                    <a:pt x="86" y="1464"/>
                  </a:lnTo>
                  <a:lnTo>
                    <a:pt x="57" y="1448"/>
                  </a:lnTo>
                  <a:lnTo>
                    <a:pt x="57" y="1464"/>
                  </a:lnTo>
                  <a:lnTo>
                    <a:pt x="57" y="1477"/>
                  </a:lnTo>
                  <a:lnTo>
                    <a:pt x="72" y="1507"/>
                  </a:lnTo>
                  <a:lnTo>
                    <a:pt x="86" y="1522"/>
                  </a:lnTo>
                  <a:lnTo>
                    <a:pt x="72" y="1536"/>
                  </a:lnTo>
                  <a:lnTo>
                    <a:pt x="57" y="1522"/>
                  </a:lnTo>
                  <a:lnTo>
                    <a:pt x="43" y="1536"/>
                  </a:lnTo>
                  <a:lnTo>
                    <a:pt x="43" y="1551"/>
                  </a:lnTo>
                  <a:lnTo>
                    <a:pt x="72" y="1565"/>
                  </a:lnTo>
                  <a:lnTo>
                    <a:pt x="57" y="1565"/>
                  </a:lnTo>
                  <a:lnTo>
                    <a:pt x="43" y="1565"/>
                  </a:lnTo>
                  <a:lnTo>
                    <a:pt x="43" y="1580"/>
                  </a:lnTo>
                  <a:lnTo>
                    <a:pt x="57" y="1594"/>
                  </a:lnTo>
                  <a:lnTo>
                    <a:pt x="72" y="1607"/>
                  </a:lnTo>
                  <a:lnTo>
                    <a:pt x="101" y="1607"/>
                  </a:lnTo>
                  <a:lnTo>
                    <a:pt x="130" y="1594"/>
                  </a:lnTo>
                  <a:lnTo>
                    <a:pt x="101" y="1623"/>
                  </a:lnTo>
                  <a:lnTo>
                    <a:pt x="86" y="1636"/>
                  </a:lnTo>
                  <a:lnTo>
                    <a:pt x="72" y="1652"/>
                  </a:lnTo>
                  <a:lnTo>
                    <a:pt x="101" y="1681"/>
                  </a:lnTo>
                  <a:lnTo>
                    <a:pt x="86" y="1681"/>
                  </a:lnTo>
                  <a:lnTo>
                    <a:pt x="72" y="1681"/>
                  </a:lnTo>
                  <a:lnTo>
                    <a:pt x="57" y="1693"/>
                  </a:lnTo>
                  <a:lnTo>
                    <a:pt x="43" y="1681"/>
                  </a:lnTo>
                  <a:lnTo>
                    <a:pt x="29" y="1681"/>
                  </a:lnTo>
                  <a:lnTo>
                    <a:pt x="14" y="1708"/>
                  </a:lnTo>
                  <a:lnTo>
                    <a:pt x="14" y="1722"/>
                  </a:lnTo>
                  <a:lnTo>
                    <a:pt x="0" y="1751"/>
                  </a:lnTo>
                  <a:lnTo>
                    <a:pt x="14" y="1766"/>
                  </a:lnTo>
                  <a:lnTo>
                    <a:pt x="43" y="1722"/>
                  </a:lnTo>
                  <a:lnTo>
                    <a:pt x="72" y="1722"/>
                  </a:lnTo>
                  <a:lnTo>
                    <a:pt x="72" y="1737"/>
                  </a:lnTo>
                  <a:lnTo>
                    <a:pt x="72" y="1766"/>
                  </a:lnTo>
                  <a:lnTo>
                    <a:pt x="57" y="1766"/>
                  </a:lnTo>
                  <a:lnTo>
                    <a:pt x="57" y="1795"/>
                  </a:lnTo>
                  <a:lnTo>
                    <a:pt x="43" y="1809"/>
                  </a:lnTo>
                  <a:lnTo>
                    <a:pt x="43" y="1795"/>
                  </a:lnTo>
                  <a:lnTo>
                    <a:pt x="29" y="1809"/>
                  </a:lnTo>
                  <a:lnTo>
                    <a:pt x="29" y="1823"/>
                  </a:lnTo>
                  <a:lnTo>
                    <a:pt x="29" y="1852"/>
                  </a:lnTo>
                  <a:lnTo>
                    <a:pt x="29" y="1867"/>
                  </a:lnTo>
                  <a:lnTo>
                    <a:pt x="57" y="1894"/>
                  </a:lnTo>
                  <a:lnTo>
                    <a:pt x="101" y="1910"/>
                  </a:lnTo>
                  <a:lnTo>
                    <a:pt x="72" y="1937"/>
                  </a:lnTo>
                  <a:lnTo>
                    <a:pt x="101" y="1953"/>
                  </a:lnTo>
                  <a:lnTo>
                    <a:pt x="115" y="1937"/>
                  </a:lnTo>
                  <a:lnTo>
                    <a:pt x="115" y="1966"/>
                  </a:lnTo>
                  <a:lnTo>
                    <a:pt x="157" y="1966"/>
                  </a:lnTo>
                  <a:lnTo>
                    <a:pt x="187" y="1966"/>
                  </a:lnTo>
                  <a:lnTo>
                    <a:pt x="218" y="1953"/>
                  </a:lnTo>
                  <a:lnTo>
                    <a:pt x="218" y="1966"/>
                  </a:lnTo>
                  <a:lnTo>
                    <a:pt x="245" y="1953"/>
                  </a:lnTo>
                  <a:lnTo>
                    <a:pt x="260" y="1937"/>
                  </a:lnTo>
                  <a:lnTo>
                    <a:pt x="274" y="1910"/>
                  </a:lnTo>
                  <a:lnTo>
                    <a:pt x="287" y="1894"/>
                  </a:lnTo>
                  <a:lnTo>
                    <a:pt x="332" y="1881"/>
                  </a:lnTo>
                  <a:lnTo>
                    <a:pt x="332" y="1867"/>
                  </a:lnTo>
                  <a:lnTo>
                    <a:pt x="346" y="1852"/>
                  </a:lnTo>
                  <a:lnTo>
                    <a:pt x="375" y="1852"/>
                  </a:lnTo>
                  <a:lnTo>
                    <a:pt x="375" y="1867"/>
                  </a:lnTo>
                  <a:lnTo>
                    <a:pt x="390" y="1881"/>
                  </a:lnTo>
                  <a:lnTo>
                    <a:pt x="419" y="1867"/>
                  </a:lnTo>
                  <a:lnTo>
                    <a:pt x="419" y="1838"/>
                  </a:lnTo>
                  <a:lnTo>
                    <a:pt x="446" y="1809"/>
                  </a:lnTo>
                  <a:lnTo>
                    <a:pt x="446" y="1780"/>
                  </a:lnTo>
                  <a:lnTo>
                    <a:pt x="433" y="1766"/>
                  </a:lnTo>
                  <a:lnTo>
                    <a:pt x="462" y="1737"/>
                  </a:lnTo>
                  <a:lnTo>
                    <a:pt x="476" y="1722"/>
                  </a:lnTo>
                  <a:lnTo>
                    <a:pt x="491" y="1708"/>
                  </a:lnTo>
                  <a:lnTo>
                    <a:pt x="505" y="1708"/>
                  </a:lnTo>
                  <a:lnTo>
                    <a:pt x="505" y="1737"/>
                  </a:lnTo>
                  <a:lnTo>
                    <a:pt x="491" y="1751"/>
                  </a:lnTo>
                  <a:lnTo>
                    <a:pt x="476" y="1751"/>
                  </a:lnTo>
                  <a:lnTo>
                    <a:pt x="476" y="1780"/>
                  </a:lnTo>
                  <a:lnTo>
                    <a:pt x="491" y="1780"/>
                  </a:lnTo>
                  <a:lnTo>
                    <a:pt x="532" y="1809"/>
                  </a:lnTo>
                  <a:lnTo>
                    <a:pt x="507" y="1838"/>
                  </a:lnTo>
                  <a:lnTo>
                    <a:pt x="507" y="1838"/>
                  </a:lnTo>
                  <a:lnTo>
                    <a:pt x="507" y="1838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5" name="Freeform 15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3413" y="1665288"/>
              <a:ext cx="1982788" cy="3175000"/>
            </a:xfrm>
            <a:custGeom>
              <a:avLst/>
              <a:gdLst>
                <a:gd name="T0" fmla="*/ 185 w 1769"/>
                <a:gd name="T1" fmla="*/ 1562 h 3068"/>
                <a:gd name="T2" fmla="*/ 284 w 1769"/>
                <a:gd name="T3" fmla="*/ 1312 h 3068"/>
                <a:gd name="T4" fmla="*/ 334 w 1769"/>
                <a:gd name="T5" fmla="*/ 1229 h 3068"/>
                <a:gd name="T6" fmla="*/ 207 w 1769"/>
                <a:gd name="T7" fmla="*/ 1168 h 3068"/>
                <a:gd name="T8" fmla="*/ 262 w 1769"/>
                <a:gd name="T9" fmla="*/ 980 h 3068"/>
                <a:gd name="T10" fmla="*/ 334 w 1769"/>
                <a:gd name="T11" fmla="*/ 1041 h 3068"/>
                <a:gd name="T12" fmla="*/ 417 w 1769"/>
                <a:gd name="T13" fmla="*/ 1224 h 3068"/>
                <a:gd name="T14" fmla="*/ 528 w 1769"/>
                <a:gd name="T15" fmla="*/ 1196 h 3068"/>
                <a:gd name="T16" fmla="*/ 473 w 1769"/>
                <a:gd name="T17" fmla="*/ 1035 h 3068"/>
                <a:gd name="T18" fmla="*/ 345 w 1769"/>
                <a:gd name="T19" fmla="*/ 947 h 3068"/>
                <a:gd name="T20" fmla="*/ 218 w 1769"/>
                <a:gd name="T21" fmla="*/ 836 h 3068"/>
                <a:gd name="T22" fmla="*/ 185 w 1769"/>
                <a:gd name="T23" fmla="*/ 753 h 3068"/>
                <a:gd name="T24" fmla="*/ 0 w 1769"/>
                <a:gd name="T25" fmla="*/ 140 h 3068"/>
                <a:gd name="T26" fmla="*/ 207 w 1769"/>
                <a:gd name="T27" fmla="*/ 50 h 3068"/>
                <a:gd name="T28" fmla="*/ 312 w 1769"/>
                <a:gd name="T29" fmla="*/ 16 h 3068"/>
                <a:gd name="T30" fmla="*/ 417 w 1769"/>
                <a:gd name="T31" fmla="*/ 22 h 3068"/>
                <a:gd name="T32" fmla="*/ 445 w 1769"/>
                <a:gd name="T33" fmla="*/ 105 h 3068"/>
                <a:gd name="T34" fmla="*/ 576 w 1769"/>
                <a:gd name="T35" fmla="*/ 188 h 3068"/>
                <a:gd name="T36" fmla="*/ 733 w 1769"/>
                <a:gd name="T37" fmla="*/ 221 h 3068"/>
                <a:gd name="T38" fmla="*/ 905 w 1769"/>
                <a:gd name="T39" fmla="*/ 271 h 3068"/>
                <a:gd name="T40" fmla="*/ 971 w 1769"/>
                <a:gd name="T41" fmla="*/ 465 h 3068"/>
                <a:gd name="T42" fmla="*/ 805 w 1769"/>
                <a:gd name="T43" fmla="*/ 537 h 3068"/>
                <a:gd name="T44" fmla="*/ 561 w 1769"/>
                <a:gd name="T45" fmla="*/ 570 h 3068"/>
                <a:gd name="T46" fmla="*/ 545 w 1769"/>
                <a:gd name="T47" fmla="*/ 653 h 3068"/>
                <a:gd name="T48" fmla="*/ 639 w 1769"/>
                <a:gd name="T49" fmla="*/ 808 h 3068"/>
                <a:gd name="T50" fmla="*/ 783 w 1769"/>
                <a:gd name="T51" fmla="*/ 792 h 3068"/>
                <a:gd name="T52" fmla="*/ 700 w 1769"/>
                <a:gd name="T53" fmla="*/ 709 h 3068"/>
                <a:gd name="T54" fmla="*/ 766 w 1769"/>
                <a:gd name="T55" fmla="*/ 626 h 3068"/>
                <a:gd name="T56" fmla="*/ 932 w 1769"/>
                <a:gd name="T57" fmla="*/ 709 h 3068"/>
                <a:gd name="T58" fmla="*/ 1076 w 1769"/>
                <a:gd name="T59" fmla="*/ 587 h 3068"/>
                <a:gd name="T60" fmla="*/ 1193 w 1769"/>
                <a:gd name="T61" fmla="*/ 476 h 3068"/>
                <a:gd name="T62" fmla="*/ 1348 w 1769"/>
                <a:gd name="T63" fmla="*/ 509 h 3068"/>
                <a:gd name="T64" fmla="*/ 1403 w 1769"/>
                <a:gd name="T65" fmla="*/ 598 h 3068"/>
                <a:gd name="T66" fmla="*/ 1503 w 1769"/>
                <a:gd name="T67" fmla="*/ 537 h 3068"/>
                <a:gd name="T68" fmla="*/ 1492 w 1769"/>
                <a:gd name="T69" fmla="*/ 365 h 3068"/>
                <a:gd name="T70" fmla="*/ 1464 w 1769"/>
                <a:gd name="T71" fmla="*/ 166 h 3068"/>
                <a:gd name="T72" fmla="*/ 1519 w 1769"/>
                <a:gd name="T73" fmla="*/ 149 h 3068"/>
                <a:gd name="T74" fmla="*/ 1669 w 1769"/>
                <a:gd name="T75" fmla="*/ 138 h 3068"/>
                <a:gd name="T76" fmla="*/ 1614 w 1769"/>
                <a:gd name="T77" fmla="*/ 254 h 3068"/>
                <a:gd name="T78" fmla="*/ 1602 w 1769"/>
                <a:gd name="T79" fmla="*/ 332 h 3068"/>
                <a:gd name="T80" fmla="*/ 1630 w 1769"/>
                <a:gd name="T81" fmla="*/ 448 h 3068"/>
                <a:gd name="T82" fmla="*/ 1752 w 1769"/>
                <a:gd name="T83" fmla="*/ 443 h 3068"/>
                <a:gd name="T84" fmla="*/ 1769 w 1769"/>
                <a:gd name="T85" fmla="*/ 2248 h 3068"/>
                <a:gd name="T86" fmla="*/ 1769 w 1769"/>
                <a:gd name="T87" fmla="*/ 2935 h 3068"/>
                <a:gd name="T88" fmla="*/ 1769 w 1769"/>
                <a:gd name="T89" fmla="*/ 3035 h 3068"/>
                <a:gd name="T90" fmla="*/ 1730 w 1769"/>
                <a:gd name="T91" fmla="*/ 3046 h 3068"/>
                <a:gd name="T92" fmla="*/ 1636 w 1769"/>
                <a:gd name="T93" fmla="*/ 2941 h 3068"/>
                <a:gd name="T94" fmla="*/ 1591 w 1769"/>
                <a:gd name="T95" fmla="*/ 2874 h 3068"/>
                <a:gd name="T96" fmla="*/ 1708 w 1769"/>
                <a:gd name="T97" fmla="*/ 2824 h 3068"/>
                <a:gd name="T98" fmla="*/ 1719 w 1769"/>
                <a:gd name="T99" fmla="*/ 2714 h 3068"/>
                <a:gd name="T100" fmla="*/ 1597 w 1769"/>
                <a:gd name="T101" fmla="*/ 2619 h 3068"/>
                <a:gd name="T102" fmla="*/ 1209 w 1769"/>
                <a:gd name="T103" fmla="*/ 2398 h 3068"/>
                <a:gd name="T104" fmla="*/ 755 w 1769"/>
                <a:gd name="T105" fmla="*/ 2254 h 3068"/>
                <a:gd name="T106" fmla="*/ 628 w 1769"/>
                <a:gd name="T107" fmla="*/ 2043 h 3068"/>
                <a:gd name="T108" fmla="*/ 257 w 1769"/>
                <a:gd name="T109" fmla="*/ 1706 h 3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69" h="3068">
                  <a:moveTo>
                    <a:pt x="257" y="1706"/>
                  </a:moveTo>
                  <a:lnTo>
                    <a:pt x="185" y="1562"/>
                  </a:lnTo>
                  <a:lnTo>
                    <a:pt x="240" y="1373"/>
                  </a:lnTo>
                  <a:lnTo>
                    <a:pt x="284" y="1312"/>
                  </a:lnTo>
                  <a:lnTo>
                    <a:pt x="340" y="1296"/>
                  </a:lnTo>
                  <a:lnTo>
                    <a:pt x="334" y="1229"/>
                  </a:lnTo>
                  <a:lnTo>
                    <a:pt x="273" y="1196"/>
                  </a:lnTo>
                  <a:lnTo>
                    <a:pt x="207" y="1168"/>
                  </a:lnTo>
                  <a:lnTo>
                    <a:pt x="240" y="1148"/>
                  </a:lnTo>
                  <a:lnTo>
                    <a:pt x="262" y="980"/>
                  </a:lnTo>
                  <a:lnTo>
                    <a:pt x="362" y="986"/>
                  </a:lnTo>
                  <a:lnTo>
                    <a:pt x="334" y="1041"/>
                  </a:lnTo>
                  <a:lnTo>
                    <a:pt x="356" y="1118"/>
                  </a:lnTo>
                  <a:lnTo>
                    <a:pt x="417" y="1224"/>
                  </a:lnTo>
                  <a:lnTo>
                    <a:pt x="467" y="1174"/>
                  </a:lnTo>
                  <a:lnTo>
                    <a:pt x="528" y="1196"/>
                  </a:lnTo>
                  <a:lnTo>
                    <a:pt x="539" y="1107"/>
                  </a:lnTo>
                  <a:lnTo>
                    <a:pt x="473" y="1035"/>
                  </a:lnTo>
                  <a:lnTo>
                    <a:pt x="390" y="980"/>
                  </a:lnTo>
                  <a:lnTo>
                    <a:pt x="345" y="947"/>
                  </a:lnTo>
                  <a:lnTo>
                    <a:pt x="284" y="869"/>
                  </a:lnTo>
                  <a:lnTo>
                    <a:pt x="218" y="836"/>
                  </a:lnTo>
                  <a:lnTo>
                    <a:pt x="212" y="781"/>
                  </a:lnTo>
                  <a:lnTo>
                    <a:pt x="185" y="753"/>
                  </a:lnTo>
                  <a:lnTo>
                    <a:pt x="129" y="614"/>
                  </a:lnTo>
                  <a:lnTo>
                    <a:pt x="0" y="140"/>
                  </a:lnTo>
                  <a:lnTo>
                    <a:pt x="144" y="44"/>
                  </a:lnTo>
                  <a:lnTo>
                    <a:pt x="207" y="50"/>
                  </a:lnTo>
                  <a:lnTo>
                    <a:pt x="301" y="50"/>
                  </a:lnTo>
                  <a:lnTo>
                    <a:pt x="312" y="16"/>
                  </a:lnTo>
                  <a:lnTo>
                    <a:pt x="362" y="0"/>
                  </a:lnTo>
                  <a:lnTo>
                    <a:pt x="417" y="22"/>
                  </a:lnTo>
                  <a:lnTo>
                    <a:pt x="395" y="55"/>
                  </a:lnTo>
                  <a:lnTo>
                    <a:pt x="445" y="105"/>
                  </a:lnTo>
                  <a:lnTo>
                    <a:pt x="484" y="155"/>
                  </a:lnTo>
                  <a:lnTo>
                    <a:pt x="576" y="188"/>
                  </a:lnTo>
                  <a:lnTo>
                    <a:pt x="655" y="194"/>
                  </a:lnTo>
                  <a:lnTo>
                    <a:pt x="733" y="221"/>
                  </a:lnTo>
                  <a:lnTo>
                    <a:pt x="816" y="243"/>
                  </a:lnTo>
                  <a:lnTo>
                    <a:pt x="905" y="271"/>
                  </a:lnTo>
                  <a:lnTo>
                    <a:pt x="1010" y="365"/>
                  </a:lnTo>
                  <a:lnTo>
                    <a:pt x="971" y="465"/>
                  </a:lnTo>
                  <a:lnTo>
                    <a:pt x="938" y="537"/>
                  </a:lnTo>
                  <a:lnTo>
                    <a:pt x="805" y="537"/>
                  </a:lnTo>
                  <a:lnTo>
                    <a:pt x="661" y="531"/>
                  </a:lnTo>
                  <a:lnTo>
                    <a:pt x="561" y="570"/>
                  </a:lnTo>
                  <a:lnTo>
                    <a:pt x="500" y="603"/>
                  </a:lnTo>
                  <a:lnTo>
                    <a:pt x="545" y="653"/>
                  </a:lnTo>
                  <a:lnTo>
                    <a:pt x="600" y="736"/>
                  </a:lnTo>
                  <a:lnTo>
                    <a:pt x="639" y="808"/>
                  </a:lnTo>
                  <a:lnTo>
                    <a:pt x="733" y="825"/>
                  </a:lnTo>
                  <a:lnTo>
                    <a:pt x="783" y="792"/>
                  </a:lnTo>
                  <a:lnTo>
                    <a:pt x="755" y="731"/>
                  </a:lnTo>
                  <a:lnTo>
                    <a:pt x="700" y="709"/>
                  </a:lnTo>
                  <a:lnTo>
                    <a:pt x="689" y="648"/>
                  </a:lnTo>
                  <a:lnTo>
                    <a:pt x="766" y="626"/>
                  </a:lnTo>
                  <a:lnTo>
                    <a:pt x="855" y="653"/>
                  </a:lnTo>
                  <a:lnTo>
                    <a:pt x="932" y="709"/>
                  </a:lnTo>
                  <a:lnTo>
                    <a:pt x="988" y="659"/>
                  </a:lnTo>
                  <a:lnTo>
                    <a:pt x="1076" y="587"/>
                  </a:lnTo>
                  <a:lnTo>
                    <a:pt x="1132" y="515"/>
                  </a:lnTo>
                  <a:lnTo>
                    <a:pt x="1193" y="476"/>
                  </a:lnTo>
                  <a:lnTo>
                    <a:pt x="1287" y="448"/>
                  </a:lnTo>
                  <a:lnTo>
                    <a:pt x="1348" y="509"/>
                  </a:lnTo>
                  <a:lnTo>
                    <a:pt x="1370" y="565"/>
                  </a:lnTo>
                  <a:lnTo>
                    <a:pt x="1403" y="598"/>
                  </a:lnTo>
                  <a:lnTo>
                    <a:pt x="1464" y="598"/>
                  </a:lnTo>
                  <a:lnTo>
                    <a:pt x="1503" y="537"/>
                  </a:lnTo>
                  <a:lnTo>
                    <a:pt x="1525" y="404"/>
                  </a:lnTo>
                  <a:lnTo>
                    <a:pt x="1492" y="365"/>
                  </a:lnTo>
                  <a:lnTo>
                    <a:pt x="1508" y="210"/>
                  </a:lnTo>
                  <a:lnTo>
                    <a:pt x="1464" y="166"/>
                  </a:lnTo>
                  <a:lnTo>
                    <a:pt x="1492" y="122"/>
                  </a:lnTo>
                  <a:lnTo>
                    <a:pt x="1519" y="149"/>
                  </a:lnTo>
                  <a:lnTo>
                    <a:pt x="1608" y="116"/>
                  </a:lnTo>
                  <a:lnTo>
                    <a:pt x="1669" y="138"/>
                  </a:lnTo>
                  <a:lnTo>
                    <a:pt x="1691" y="210"/>
                  </a:lnTo>
                  <a:lnTo>
                    <a:pt x="1614" y="254"/>
                  </a:lnTo>
                  <a:lnTo>
                    <a:pt x="1597" y="304"/>
                  </a:lnTo>
                  <a:lnTo>
                    <a:pt x="1602" y="332"/>
                  </a:lnTo>
                  <a:lnTo>
                    <a:pt x="1602" y="371"/>
                  </a:lnTo>
                  <a:lnTo>
                    <a:pt x="1630" y="448"/>
                  </a:lnTo>
                  <a:lnTo>
                    <a:pt x="1680" y="470"/>
                  </a:lnTo>
                  <a:lnTo>
                    <a:pt x="1752" y="443"/>
                  </a:lnTo>
                  <a:lnTo>
                    <a:pt x="1769" y="498"/>
                  </a:lnTo>
                  <a:lnTo>
                    <a:pt x="1769" y="2248"/>
                  </a:lnTo>
                  <a:lnTo>
                    <a:pt x="1769" y="2608"/>
                  </a:lnTo>
                  <a:lnTo>
                    <a:pt x="1769" y="2935"/>
                  </a:lnTo>
                  <a:lnTo>
                    <a:pt x="1769" y="2974"/>
                  </a:lnTo>
                  <a:lnTo>
                    <a:pt x="1769" y="3035"/>
                  </a:lnTo>
                  <a:lnTo>
                    <a:pt x="1758" y="3068"/>
                  </a:lnTo>
                  <a:lnTo>
                    <a:pt x="1730" y="3046"/>
                  </a:lnTo>
                  <a:lnTo>
                    <a:pt x="1702" y="2979"/>
                  </a:lnTo>
                  <a:lnTo>
                    <a:pt x="1636" y="2941"/>
                  </a:lnTo>
                  <a:lnTo>
                    <a:pt x="1586" y="2935"/>
                  </a:lnTo>
                  <a:lnTo>
                    <a:pt x="1591" y="2874"/>
                  </a:lnTo>
                  <a:lnTo>
                    <a:pt x="1658" y="2835"/>
                  </a:lnTo>
                  <a:lnTo>
                    <a:pt x="1708" y="2824"/>
                  </a:lnTo>
                  <a:lnTo>
                    <a:pt x="1741" y="2780"/>
                  </a:lnTo>
                  <a:lnTo>
                    <a:pt x="1719" y="2714"/>
                  </a:lnTo>
                  <a:lnTo>
                    <a:pt x="1669" y="2691"/>
                  </a:lnTo>
                  <a:lnTo>
                    <a:pt x="1597" y="2619"/>
                  </a:lnTo>
                  <a:lnTo>
                    <a:pt x="1475" y="2586"/>
                  </a:lnTo>
                  <a:lnTo>
                    <a:pt x="1209" y="2398"/>
                  </a:lnTo>
                  <a:lnTo>
                    <a:pt x="954" y="2320"/>
                  </a:lnTo>
                  <a:lnTo>
                    <a:pt x="755" y="2254"/>
                  </a:lnTo>
                  <a:lnTo>
                    <a:pt x="567" y="2182"/>
                  </a:lnTo>
                  <a:lnTo>
                    <a:pt x="628" y="2043"/>
                  </a:lnTo>
                  <a:lnTo>
                    <a:pt x="356" y="1816"/>
                  </a:lnTo>
                  <a:lnTo>
                    <a:pt x="257" y="1706"/>
                  </a:lnTo>
                  <a:close/>
                </a:path>
              </a:pathLst>
            </a:custGeom>
            <a:solidFill>
              <a:schemeClr val="accent3"/>
            </a:solidFill>
            <a:ln w="3175" cap="rnd" cmpd="sng">
              <a:solidFill>
                <a:schemeClr val="bg1">
                  <a:alpha val="9000"/>
                </a:schemeClr>
              </a:solidFill>
              <a:prstDash val="sysDot"/>
              <a:round/>
              <a:headEnd/>
              <a:tailEnd/>
            </a:ln>
            <a:effectLst>
              <a:outerShdw dist="35921" dir="2700000" algn="ctr" rotWithShape="0">
                <a:schemeClr val="bg2">
                  <a:alpha val="34000"/>
                </a:schemeClr>
              </a:outerShdw>
            </a:effectLst>
            <a:extLst/>
          </p:spPr>
          <p:txBody>
            <a:bodyPr wrap="none" anchor="ctr"/>
            <a:lstStyle/>
            <a:p>
              <a:endParaRPr lang="de-DE" dirty="0"/>
            </a:p>
          </p:txBody>
        </p:sp>
        <p:sp>
          <p:nvSpPr>
            <p:cNvPr id="236" name="Freeform 16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721225" y="3643313"/>
              <a:ext cx="1001713" cy="766763"/>
            </a:xfrm>
            <a:custGeom>
              <a:avLst/>
              <a:gdLst>
                <a:gd name="T0" fmla="*/ 52 w 759"/>
                <a:gd name="T1" fmla="*/ 162 h 630"/>
                <a:gd name="T2" fmla="*/ 44 w 759"/>
                <a:gd name="T3" fmla="*/ 143 h 630"/>
                <a:gd name="T4" fmla="*/ 87 w 759"/>
                <a:gd name="T5" fmla="*/ 104 h 630"/>
                <a:gd name="T6" fmla="*/ 130 w 759"/>
                <a:gd name="T7" fmla="*/ 104 h 630"/>
                <a:gd name="T8" fmla="*/ 150 w 759"/>
                <a:gd name="T9" fmla="*/ 86 h 630"/>
                <a:gd name="T10" fmla="*/ 183 w 759"/>
                <a:gd name="T11" fmla="*/ 67 h 630"/>
                <a:gd name="T12" fmla="*/ 215 w 759"/>
                <a:gd name="T13" fmla="*/ 56 h 630"/>
                <a:gd name="T14" fmla="*/ 236 w 759"/>
                <a:gd name="T15" fmla="*/ 47 h 630"/>
                <a:gd name="T16" fmla="*/ 280 w 759"/>
                <a:gd name="T17" fmla="*/ 47 h 630"/>
                <a:gd name="T18" fmla="*/ 323 w 759"/>
                <a:gd name="T19" fmla="*/ 47 h 630"/>
                <a:gd name="T20" fmla="*/ 331 w 759"/>
                <a:gd name="T21" fmla="*/ 77 h 630"/>
                <a:gd name="T22" fmla="*/ 377 w 759"/>
                <a:gd name="T23" fmla="*/ 86 h 630"/>
                <a:gd name="T24" fmla="*/ 398 w 759"/>
                <a:gd name="T25" fmla="*/ 95 h 630"/>
                <a:gd name="T26" fmla="*/ 418 w 759"/>
                <a:gd name="T27" fmla="*/ 77 h 630"/>
                <a:gd name="T28" fmla="*/ 441 w 759"/>
                <a:gd name="T29" fmla="*/ 56 h 630"/>
                <a:gd name="T30" fmla="*/ 441 w 759"/>
                <a:gd name="T31" fmla="*/ 28 h 630"/>
                <a:gd name="T32" fmla="*/ 472 w 759"/>
                <a:gd name="T33" fmla="*/ 9 h 630"/>
                <a:gd name="T34" fmla="*/ 498 w 759"/>
                <a:gd name="T35" fmla="*/ 25 h 630"/>
                <a:gd name="T36" fmla="*/ 659 w 759"/>
                <a:gd name="T37" fmla="*/ 72 h 630"/>
                <a:gd name="T38" fmla="*/ 699 w 759"/>
                <a:gd name="T39" fmla="*/ 114 h 630"/>
                <a:gd name="T40" fmla="*/ 709 w 759"/>
                <a:gd name="T41" fmla="*/ 163 h 630"/>
                <a:gd name="T42" fmla="*/ 739 w 759"/>
                <a:gd name="T43" fmla="*/ 211 h 630"/>
                <a:gd name="T44" fmla="*/ 693 w 759"/>
                <a:gd name="T45" fmla="*/ 283 h 630"/>
                <a:gd name="T46" fmla="*/ 713 w 759"/>
                <a:gd name="T47" fmla="*/ 328 h 630"/>
                <a:gd name="T48" fmla="*/ 718 w 759"/>
                <a:gd name="T49" fmla="*/ 357 h 630"/>
                <a:gd name="T50" fmla="*/ 709 w 759"/>
                <a:gd name="T51" fmla="*/ 382 h 630"/>
                <a:gd name="T52" fmla="*/ 752 w 759"/>
                <a:gd name="T53" fmla="*/ 429 h 630"/>
                <a:gd name="T54" fmla="*/ 752 w 759"/>
                <a:gd name="T55" fmla="*/ 448 h 630"/>
                <a:gd name="T56" fmla="*/ 739 w 759"/>
                <a:gd name="T57" fmla="*/ 490 h 630"/>
                <a:gd name="T58" fmla="*/ 690 w 759"/>
                <a:gd name="T59" fmla="*/ 515 h 630"/>
                <a:gd name="T60" fmla="*/ 660 w 759"/>
                <a:gd name="T61" fmla="*/ 545 h 630"/>
                <a:gd name="T62" fmla="*/ 651 w 759"/>
                <a:gd name="T63" fmla="*/ 587 h 630"/>
                <a:gd name="T64" fmla="*/ 647 w 759"/>
                <a:gd name="T65" fmla="*/ 616 h 630"/>
                <a:gd name="T66" fmla="*/ 622 w 759"/>
                <a:gd name="T67" fmla="*/ 616 h 630"/>
                <a:gd name="T68" fmla="*/ 590 w 759"/>
                <a:gd name="T69" fmla="*/ 607 h 630"/>
                <a:gd name="T70" fmla="*/ 558 w 759"/>
                <a:gd name="T71" fmla="*/ 587 h 630"/>
                <a:gd name="T72" fmla="*/ 526 w 759"/>
                <a:gd name="T73" fmla="*/ 587 h 630"/>
                <a:gd name="T74" fmla="*/ 495 w 759"/>
                <a:gd name="T75" fmla="*/ 568 h 630"/>
                <a:gd name="T76" fmla="*/ 461 w 759"/>
                <a:gd name="T77" fmla="*/ 568 h 630"/>
                <a:gd name="T78" fmla="*/ 429 w 759"/>
                <a:gd name="T79" fmla="*/ 596 h 630"/>
                <a:gd name="T80" fmla="*/ 408 w 759"/>
                <a:gd name="T81" fmla="*/ 577 h 630"/>
                <a:gd name="T82" fmla="*/ 377 w 759"/>
                <a:gd name="T83" fmla="*/ 577 h 630"/>
                <a:gd name="T84" fmla="*/ 331 w 759"/>
                <a:gd name="T85" fmla="*/ 559 h 630"/>
                <a:gd name="T86" fmla="*/ 280 w 759"/>
                <a:gd name="T87" fmla="*/ 539 h 630"/>
                <a:gd name="T88" fmla="*/ 236 w 759"/>
                <a:gd name="T89" fmla="*/ 509 h 630"/>
                <a:gd name="T90" fmla="*/ 193 w 759"/>
                <a:gd name="T91" fmla="*/ 500 h 630"/>
                <a:gd name="T92" fmla="*/ 183 w 759"/>
                <a:gd name="T93" fmla="*/ 520 h 630"/>
                <a:gd name="T94" fmla="*/ 162 w 759"/>
                <a:gd name="T95" fmla="*/ 500 h 630"/>
                <a:gd name="T96" fmla="*/ 162 w 759"/>
                <a:gd name="T97" fmla="*/ 480 h 630"/>
                <a:gd name="T98" fmla="*/ 108 w 759"/>
                <a:gd name="T99" fmla="*/ 462 h 630"/>
                <a:gd name="T100" fmla="*/ 75 w 759"/>
                <a:gd name="T101" fmla="*/ 452 h 630"/>
                <a:gd name="T102" fmla="*/ 75 w 759"/>
                <a:gd name="T103" fmla="*/ 414 h 630"/>
                <a:gd name="T104" fmla="*/ 44 w 759"/>
                <a:gd name="T105" fmla="*/ 423 h 630"/>
                <a:gd name="T106" fmla="*/ 53 w 759"/>
                <a:gd name="T107" fmla="*/ 375 h 630"/>
                <a:gd name="T108" fmla="*/ 44 w 759"/>
                <a:gd name="T109" fmla="*/ 355 h 630"/>
                <a:gd name="T110" fmla="*/ 33 w 759"/>
                <a:gd name="T111" fmla="*/ 298 h 630"/>
                <a:gd name="T112" fmla="*/ 44 w 759"/>
                <a:gd name="T113" fmla="*/ 268 h 630"/>
                <a:gd name="T114" fmla="*/ 22 w 759"/>
                <a:gd name="T115" fmla="*/ 250 h 630"/>
                <a:gd name="T116" fmla="*/ 12 w 759"/>
                <a:gd name="T117" fmla="*/ 211 h 630"/>
                <a:gd name="T118" fmla="*/ 22 w 759"/>
                <a:gd name="T119" fmla="*/ 182 h 630"/>
                <a:gd name="T120" fmla="*/ 23 w 759"/>
                <a:gd name="T121" fmla="*/ 14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9" h="630">
                  <a:moveTo>
                    <a:pt x="23" y="149"/>
                  </a:moveTo>
                  <a:lnTo>
                    <a:pt x="35" y="162"/>
                  </a:lnTo>
                  <a:lnTo>
                    <a:pt x="52" y="162"/>
                  </a:lnTo>
                  <a:lnTo>
                    <a:pt x="53" y="163"/>
                  </a:lnTo>
                  <a:lnTo>
                    <a:pt x="53" y="153"/>
                  </a:lnTo>
                  <a:lnTo>
                    <a:pt x="44" y="143"/>
                  </a:lnTo>
                  <a:lnTo>
                    <a:pt x="53" y="135"/>
                  </a:lnTo>
                  <a:lnTo>
                    <a:pt x="65" y="115"/>
                  </a:lnTo>
                  <a:lnTo>
                    <a:pt x="87" y="104"/>
                  </a:lnTo>
                  <a:lnTo>
                    <a:pt x="97" y="104"/>
                  </a:lnTo>
                  <a:lnTo>
                    <a:pt x="118" y="104"/>
                  </a:lnTo>
                  <a:lnTo>
                    <a:pt x="130" y="104"/>
                  </a:lnTo>
                  <a:lnTo>
                    <a:pt x="130" y="95"/>
                  </a:lnTo>
                  <a:lnTo>
                    <a:pt x="140" y="95"/>
                  </a:lnTo>
                  <a:lnTo>
                    <a:pt x="150" y="86"/>
                  </a:lnTo>
                  <a:lnTo>
                    <a:pt x="162" y="86"/>
                  </a:lnTo>
                  <a:lnTo>
                    <a:pt x="172" y="77"/>
                  </a:lnTo>
                  <a:lnTo>
                    <a:pt x="183" y="67"/>
                  </a:lnTo>
                  <a:lnTo>
                    <a:pt x="193" y="56"/>
                  </a:lnTo>
                  <a:lnTo>
                    <a:pt x="205" y="67"/>
                  </a:lnTo>
                  <a:lnTo>
                    <a:pt x="215" y="56"/>
                  </a:lnTo>
                  <a:lnTo>
                    <a:pt x="227" y="56"/>
                  </a:lnTo>
                  <a:lnTo>
                    <a:pt x="227" y="47"/>
                  </a:lnTo>
                  <a:lnTo>
                    <a:pt x="236" y="47"/>
                  </a:lnTo>
                  <a:lnTo>
                    <a:pt x="248" y="38"/>
                  </a:lnTo>
                  <a:lnTo>
                    <a:pt x="268" y="47"/>
                  </a:lnTo>
                  <a:lnTo>
                    <a:pt x="280" y="47"/>
                  </a:lnTo>
                  <a:lnTo>
                    <a:pt x="290" y="38"/>
                  </a:lnTo>
                  <a:lnTo>
                    <a:pt x="323" y="38"/>
                  </a:lnTo>
                  <a:lnTo>
                    <a:pt x="323" y="47"/>
                  </a:lnTo>
                  <a:lnTo>
                    <a:pt x="331" y="56"/>
                  </a:lnTo>
                  <a:lnTo>
                    <a:pt x="331" y="67"/>
                  </a:lnTo>
                  <a:lnTo>
                    <a:pt x="331" y="77"/>
                  </a:lnTo>
                  <a:lnTo>
                    <a:pt x="331" y="86"/>
                  </a:lnTo>
                  <a:lnTo>
                    <a:pt x="343" y="95"/>
                  </a:lnTo>
                  <a:lnTo>
                    <a:pt x="377" y="86"/>
                  </a:lnTo>
                  <a:lnTo>
                    <a:pt x="386" y="86"/>
                  </a:lnTo>
                  <a:lnTo>
                    <a:pt x="386" y="95"/>
                  </a:lnTo>
                  <a:lnTo>
                    <a:pt x="398" y="95"/>
                  </a:lnTo>
                  <a:lnTo>
                    <a:pt x="418" y="95"/>
                  </a:lnTo>
                  <a:lnTo>
                    <a:pt x="418" y="86"/>
                  </a:lnTo>
                  <a:lnTo>
                    <a:pt x="418" y="77"/>
                  </a:lnTo>
                  <a:lnTo>
                    <a:pt x="418" y="67"/>
                  </a:lnTo>
                  <a:lnTo>
                    <a:pt x="429" y="67"/>
                  </a:lnTo>
                  <a:lnTo>
                    <a:pt x="441" y="56"/>
                  </a:lnTo>
                  <a:lnTo>
                    <a:pt x="441" y="47"/>
                  </a:lnTo>
                  <a:lnTo>
                    <a:pt x="421" y="42"/>
                  </a:lnTo>
                  <a:lnTo>
                    <a:pt x="441" y="28"/>
                  </a:lnTo>
                  <a:lnTo>
                    <a:pt x="441" y="19"/>
                  </a:lnTo>
                  <a:lnTo>
                    <a:pt x="472" y="0"/>
                  </a:lnTo>
                  <a:lnTo>
                    <a:pt x="472" y="9"/>
                  </a:lnTo>
                  <a:lnTo>
                    <a:pt x="472" y="19"/>
                  </a:lnTo>
                  <a:lnTo>
                    <a:pt x="472" y="28"/>
                  </a:lnTo>
                  <a:lnTo>
                    <a:pt x="498" y="25"/>
                  </a:lnTo>
                  <a:lnTo>
                    <a:pt x="636" y="49"/>
                  </a:lnTo>
                  <a:lnTo>
                    <a:pt x="639" y="62"/>
                  </a:lnTo>
                  <a:lnTo>
                    <a:pt x="659" y="72"/>
                  </a:lnTo>
                  <a:lnTo>
                    <a:pt x="674" y="77"/>
                  </a:lnTo>
                  <a:lnTo>
                    <a:pt x="700" y="93"/>
                  </a:lnTo>
                  <a:lnTo>
                    <a:pt x="699" y="114"/>
                  </a:lnTo>
                  <a:lnTo>
                    <a:pt x="702" y="128"/>
                  </a:lnTo>
                  <a:lnTo>
                    <a:pt x="709" y="135"/>
                  </a:lnTo>
                  <a:lnTo>
                    <a:pt x="709" y="163"/>
                  </a:lnTo>
                  <a:lnTo>
                    <a:pt x="714" y="170"/>
                  </a:lnTo>
                  <a:lnTo>
                    <a:pt x="741" y="195"/>
                  </a:lnTo>
                  <a:lnTo>
                    <a:pt x="739" y="211"/>
                  </a:lnTo>
                  <a:lnTo>
                    <a:pt x="747" y="250"/>
                  </a:lnTo>
                  <a:lnTo>
                    <a:pt x="732" y="260"/>
                  </a:lnTo>
                  <a:lnTo>
                    <a:pt x="693" y="283"/>
                  </a:lnTo>
                  <a:lnTo>
                    <a:pt x="702" y="296"/>
                  </a:lnTo>
                  <a:lnTo>
                    <a:pt x="720" y="300"/>
                  </a:lnTo>
                  <a:lnTo>
                    <a:pt x="713" y="328"/>
                  </a:lnTo>
                  <a:lnTo>
                    <a:pt x="713" y="335"/>
                  </a:lnTo>
                  <a:lnTo>
                    <a:pt x="716" y="339"/>
                  </a:lnTo>
                  <a:lnTo>
                    <a:pt x="718" y="357"/>
                  </a:lnTo>
                  <a:lnTo>
                    <a:pt x="709" y="366"/>
                  </a:lnTo>
                  <a:lnTo>
                    <a:pt x="714" y="374"/>
                  </a:lnTo>
                  <a:lnTo>
                    <a:pt x="709" y="382"/>
                  </a:lnTo>
                  <a:lnTo>
                    <a:pt x="723" y="392"/>
                  </a:lnTo>
                  <a:lnTo>
                    <a:pt x="742" y="406"/>
                  </a:lnTo>
                  <a:lnTo>
                    <a:pt x="752" y="429"/>
                  </a:lnTo>
                  <a:lnTo>
                    <a:pt x="743" y="431"/>
                  </a:lnTo>
                  <a:lnTo>
                    <a:pt x="743" y="444"/>
                  </a:lnTo>
                  <a:lnTo>
                    <a:pt x="752" y="448"/>
                  </a:lnTo>
                  <a:lnTo>
                    <a:pt x="759" y="461"/>
                  </a:lnTo>
                  <a:lnTo>
                    <a:pt x="752" y="482"/>
                  </a:lnTo>
                  <a:lnTo>
                    <a:pt x="739" y="490"/>
                  </a:lnTo>
                  <a:lnTo>
                    <a:pt x="717" y="487"/>
                  </a:lnTo>
                  <a:lnTo>
                    <a:pt x="696" y="504"/>
                  </a:lnTo>
                  <a:lnTo>
                    <a:pt x="690" y="515"/>
                  </a:lnTo>
                  <a:lnTo>
                    <a:pt x="680" y="531"/>
                  </a:lnTo>
                  <a:lnTo>
                    <a:pt x="668" y="534"/>
                  </a:lnTo>
                  <a:lnTo>
                    <a:pt x="660" y="545"/>
                  </a:lnTo>
                  <a:lnTo>
                    <a:pt x="656" y="558"/>
                  </a:lnTo>
                  <a:lnTo>
                    <a:pt x="651" y="578"/>
                  </a:lnTo>
                  <a:lnTo>
                    <a:pt x="651" y="587"/>
                  </a:lnTo>
                  <a:lnTo>
                    <a:pt x="651" y="598"/>
                  </a:lnTo>
                  <a:lnTo>
                    <a:pt x="647" y="606"/>
                  </a:lnTo>
                  <a:lnTo>
                    <a:pt x="647" y="616"/>
                  </a:lnTo>
                  <a:lnTo>
                    <a:pt x="636" y="630"/>
                  </a:lnTo>
                  <a:lnTo>
                    <a:pt x="633" y="616"/>
                  </a:lnTo>
                  <a:lnTo>
                    <a:pt x="622" y="616"/>
                  </a:lnTo>
                  <a:lnTo>
                    <a:pt x="611" y="616"/>
                  </a:lnTo>
                  <a:lnTo>
                    <a:pt x="601" y="616"/>
                  </a:lnTo>
                  <a:lnTo>
                    <a:pt x="590" y="607"/>
                  </a:lnTo>
                  <a:lnTo>
                    <a:pt x="579" y="596"/>
                  </a:lnTo>
                  <a:lnTo>
                    <a:pt x="567" y="587"/>
                  </a:lnTo>
                  <a:lnTo>
                    <a:pt x="558" y="587"/>
                  </a:lnTo>
                  <a:lnTo>
                    <a:pt x="546" y="568"/>
                  </a:lnTo>
                  <a:lnTo>
                    <a:pt x="538" y="577"/>
                  </a:lnTo>
                  <a:lnTo>
                    <a:pt x="526" y="587"/>
                  </a:lnTo>
                  <a:lnTo>
                    <a:pt x="495" y="596"/>
                  </a:lnTo>
                  <a:lnTo>
                    <a:pt x="495" y="587"/>
                  </a:lnTo>
                  <a:lnTo>
                    <a:pt x="495" y="568"/>
                  </a:lnTo>
                  <a:lnTo>
                    <a:pt x="483" y="577"/>
                  </a:lnTo>
                  <a:lnTo>
                    <a:pt x="472" y="577"/>
                  </a:lnTo>
                  <a:lnTo>
                    <a:pt x="461" y="568"/>
                  </a:lnTo>
                  <a:lnTo>
                    <a:pt x="441" y="577"/>
                  </a:lnTo>
                  <a:lnTo>
                    <a:pt x="441" y="587"/>
                  </a:lnTo>
                  <a:lnTo>
                    <a:pt x="429" y="596"/>
                  </a:lnTo>
                  <a:lnTo>
                    <a:pt x="429" y="577"/>
                  </a:lnTo>
                  <a:lnTo>
                    <a:pt x="418" y="568"/>
                  </a:lnTo>
                  <a:lnTo>
                    <a:pt x="408" y="577"/>
                  </a:lnTo>
                  <a:lnTo>
                    <a:pt x="398" y="577"/>
                  </a:lnTo>
                  <a:lnTo>
                    <a:pt x="386" y="587"/>
                  </a:lnTo>
                  <a:lnTo>
                    <a:pt x="377" y="577"/>
                  </a:lnTo>
                  <a:lnTo>
                    <a:pt x="354" y="577"/>
                  </a:lnTo>
                  <a:lnTo>
                    <a:pt x="343" y="568"/>
                  </a:lnTo>
                  <a:lnTo>
                    <a:pt x="331" y="559"/>
                  </a:lnTo>
                  <a:lnTo>
                    <a:pt x="323" y="548"/>
                  </a:lnTo>
                  <a:lnTo>
                    <a:pt x="302" y="548"/>
                  </a:lnTo>
                  <a:lnTo>
                    <a:pt x="280" y="539"/>
                  </a:lnTo>
                  <a:lnTo>
                    <a:pt x="268" y="529"/>
                  </a:lnTo>
                  <a:lnTo>
                    <a:pt x="248" y="500"/>
                  </a:lnTo>
                  <a:lnTo>
                    <a:pt x="236" y="509"/>
                  </a:lnTo>
                  <a:lnTo>
                    <a:pt x="227" y="500"/>
                  </a:lnTo>
                  <a:lnTo>
                    <a:pt x="205" y="500"/>
                  </a:lnTo>
                  <a:lnTo>
                    <a:pt x="193" y="500"/>
                  </a:lnTo>
                  <a:lnTo>
                    <a:pt x="205" y="509"/>
                  </a:lnTo>
                  <a:lnTo>
                    <a:pt x="193" y="509"/>
                  </a:lnTo>
                  <a:lnTo>
                    <a:pt x="183" y="520"/>
                  </a:lnTo>
                  <a:lnTo>
                    <a:pt x="183" y="529"/>
                  </a:lnTo>
                  <a:lnTo>
                    <a:pt x="172" y="509"/>
                  </a:lnTo>
                  <a:lnTo>
                    <a:pt x="162" y="500"/>
                  </a:lnTo>
                  <a:lnTo>
                    <a:pt x="140" y="500"/>
                  </a:lnTo>
                  <a:lnTo>
                    <a:pt x="150" y="491"/>
                  </a:lnTo>
                  <a:lnTo>
                    <a:pt x="162" y="480"/>
                  </a:lnTo>
                  <a:lnTo>
                    <a:pt x="150" y="472"/>
                  </a:lnTo>
                  <a:lnTo>
                    <a:pt x="130" y="472"/>
                  </a:lnTo>
                  <a:lnTo>
                    <a:pt x="108" y="462"/>
                  </a:lnTo>
                  <a:lnTo>
                    <a:pt x="97" y="462"/>
                  </a:lnTo>
                  <a:lnTo>
                    <a:pt x="87" y="452"/>
                  </a:lnTo>
                  <a:lnTo>
                    <a:pt x="75" y="452"/>
                  </a:lnTo>
                  <a:lnTo>
                    <a:pt x="75" y="443"/>
                  </a:lnTo>
                  <a:lnTo>
                    <a:pt x="75" y="433"/>
                  </a:lnTo>
                  <a:lnTo>
                    <a:pt x="75" y="414"/>
                  </a:lnTo>
                  <a:lnTo>
                    <a:pt x="65" y="414"/>
                  </a:lnTo>
                  <a:lnTo>
                    <a:pt x="49" y="415"/>
                  </a:lnTo>
                  <a:lnTo>
                    <a:pt x="44" y="423"/>
                  </a:lnTo>
                  <a:lnTo>
                    <a:pt x="44" y="414"/>
                  </a:lnTo>
                  <a:lnTo>
                    <a:pt x="44" y="384"/>
                  </a:lnTo>
                  <a:lnTo>
                    <a:pt x="53" y="375"/>
                  </a:lnTo>
                  <a:lnTo>
                    <a:pt x="44" y="375"/>
                  </a:lnTo>
                  <a:lnTo>
                    <a:pt x="44" y="365"/>
                  </a:lnTo>
                  <a:lnTo>
                    <a:pt x="44" y="355"/>
                  </a:lnTo>
                  <a:lnTo>
                    <a:pt x="44" y="327"/>
                  </a:lnTo>
                  <a:lnTo>
                    <a:pt x="44" y="318"/>
                  </a:lnTo>
                  <a:lnTo>
                    <a:pt x="33" y="298"/>
                  </a:lnTo>
                  <a:lnTo>
                    <a:pt x="33" y="288"/>
                  </a:lnTo>
                  <a:lnTo>
                    <a:pt x="33" y="279"/>
                  </a:lnTo>
                  <a:lnTo>
                    <a:pt x="44" y="268"/>
                  </a:lnTo>
                  <a:lnTo>
                    <a:pt x="33" y="268"/>
                  </a:lnTo>
                  <a:lnTo>
                    <a:pt x="22" y="260"/>
                  </a:lnTo>
                  <a:lnTo>
                    <a:pt x="22" y="250"/>
                  </a:lnTo>
                  <a:lnTo>
                    <a:pt x="12" y="241"/>
                  </a:lnTo>
                  <a:lnTo>
                    <a:pt x="0" y="221"/>
                  </a:lnTo>
                  <a:lnTo>
                    <a:pt x="12" y="211"/>
                  </a:lnTo>
                  <a:lnTo>
                    <a:pt x="22" y="200"/>
                  </a:lnTo>
                  <a:lnTo>
                    <a:pt x="22" y="192"/>
                  </a:lnTo>
                  <a:lnTo>
                    <a:pt x="22" y="182"/>
                  </a:lnTo>
                  <a:lnTo>
                    <a:pt x="22" y="174"/>
                  </a:lnTo>
                  <a:lnTo>
                    <a:pt x="22" y="163"/>
                  </a:lnTo>
                  <a:lnTo>
                    <a:pt x="23" y="149"/>
                  </a:lnTo>
                  <a:lnTo>
                    <a:pt x="23" y="149"/>
                  </a:lnTo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7" name="Freeform 17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380038" y="3625851"/>
              <a:ext cx="193675" cy="76200"/>
            </a:xfrm>
            <a:custGeom>
              <a:avLst/>
              <a:gdLst>
                <a:gd name="T0" fmla="*/ 137 w 147"/>
                <a:gd name="T1" fmla="*/ 62 h 63"/>
                <a:gd name="T2" fmla="*/ 93 w 147"/>
                <a:gd name="T3" fmla="*/ 63 h 63"/>
                <a:gd name="T4" fmla="*/ 32 w 147"/>
                <a:gd name="T5" fmla="*/ 53 h 63"/>
                <a:gd name="T6" fmla="*/ 0 w 147"/>
                <a:gd name="T7" fmla="*/ 38 h 63"/>
                <a:gd name="T8" fmla="*/ 8 w 147"/>
                <a:gd name="T9" fmla="*/ 29 h 63"/>
                <a:gd name="T10" fmla="*/ 11 w 147"/>
                <a:gd name="T11" fmla="*/ 21 h 63"/>
                <a:gd name="T12" fmla="*/ 17 w 147"/>
                <a:gd name="T13" fmla="*/ 14 h 63"/>
                <a:gd name="T14" fmla="*/ 5 w 147"/>
                <a:gd name="T15" fmla="*/ 11 h 63"/>
                <a:gd name="T16" fmla="*/ 8 w 147"/>
                <a:gd name="T17" fmla="*/ 3 h 63"/>
                <a:gd name="T18" fmla="*/ 26 w 147"/>
                <a:gd name="T19" fmla="*/ 2 h 63"/>
                <a:gd name="T20" fmla="*/ 33 w 147"/>
                <a:gd name="T21" fmla="*/ 0 h 63"/>
                <a:gd name="T22" fmla="*/ 47 w 147"/>
                <a:gd name="T23" fmla="*/ 18 h 63"/>
                <a:gd name="T24" fmla="*/ 83 w 147"/>
                <a:gd name="T25" fmla="*/ 20 h 63"/>
                <a:gd name="T26" fmla="*/ 84 w 147"/>
                <a:gd name="T27" fmla="*/ 15 h 63"/>
                <a:gd name="T28" fmla="*/ 98 w 147"/>
                <a:gd name="T29" fmla="*/ 15 h 63"/>
                <a:gd name="T30" fmla="*/ 113 w 147"/>
                <a:gd name="T31" fmla="*/ 14 h 63"/>
                <a:gd name="T32" fmla="*/ 116 w 147"/>
                <a:gd name="T33" fmla="*/ 6 h 63"/>
                <a:gd name="T34" fmla="*/ 123 w 147"/>
                <a:gd name="T35" fmla="*/ 8 h 63"/>
                <a:gd name="T36" fmla="*/ 134 w 147"/>
                <a:gd name="T37" fmla="*/ 15 h 63"/>
                <a:gd name="T38" fmla="*/ 131 w 147"/>
                <a:gd name="T39" fmla="*/ 26 h 63"/>
                <a:gd name="T40" fmla="*/ 141 w 147"/>
                <a:gd name="T41" fmla="*/ 32 h 63"/>
                <a:gd name="T42" fmla="*/ 147 w 147"/>
                <a:gd name="T43" fmla="*/ 36 h 63"/>
                <a:gd name="T44" fmla="*/ 143 w 147"/>
                <a:gd name="T45" fmla="*/ 53 h 63"/>
                <a:gd name="T46" fmla="*/ 138 w 147"/>
                <a:gd name="T47" fmla="*/ 6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7" h="63">
                  <a:moveTo>
                    <a:pt x="137" y="62"/>
                  </a:moveTo>
                  <a:lnTo>
                    <a:pt x="93" y="63"/>
                  </a:lnTo>
                  <a:lnTo>
                    <a:pt x="32" y="53"/>
                  </a:lnTo>
                  <a:lnTo>
                    <a:pt x="0" y="38"/>
                  </a:lnTo>
                  <a:lnTo>
                    <a:pt x="8" y="29"/>
                  </a:lnTo>
                  <a:lnTo>
                    <a:pt x="11" y="21"/>
                  </a:lnTo>
                  <a:lnTo>
                    <a:pt x="17" y="14"/>
                  </a:lnTo>
                  <a:lnTo>
                    <a:pt x="5" y="11"/>
                  </a:lnTo>
                  <a:lnTo>
                    <a:pt x="8" y="3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47" y="18"/>
                  </a:lnTo>
                  <a:lnTo>
                    <a:pt x="83" y="20"/>
                  </a:lnTo>
                  <a:lnTo>
                    <a:pt x="84" y="15"/>
                  </a:lnTo>
                  <a:lnTo>
                    <a:pt x="98" y="15"/>
                  </a:lnTo>
                  <a:lnTo>
                    <a:pt x="113" y="14"/>
                  </a:lnTo>
                  <a:lnTo>
                    <a:pt x="116" y="6"/>
                  </a:lnTo>
                  <a:lnTo>
                    <a:pt x="123" y="8"/>
                  </a:lnTo>
                  <a:lnTo>
                    <a:pt x="134" y="15"/>
                  </a:lnTo>
                  <a:lnTo>
                    <a:pt x="131" y="26"/>
                  </a:lnTo>
                  <a:lnTo>
                    <a:pt x="141" y="32"/>
                  </a:lnTo>
                  <a:lnTo>
                    <a:pt x="147" y="36"/>
                  </a:lnTo>
                  <a:lnTo>
                    <a:pt x="143" y="53"/>
                  </a:lnTo>
                  <a:lnTo>
                    <a:pt x="138" y="60"/>
                  </a:lnTo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de-DE" dirty="0"/>
            </a:p>
          </p:txBody>
        </p:sp>
        <p:sp>
          <p:nvSpPr>
            <p:cNvPr id="238" name="Freeform 18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459413" y="3192463"/>
              <a:ext cx="127000" cy="69850"/>
            </a:xfrm>
            <a:custGeom>
              <a:avLst/>
              <a:gdLst>
                <a:gd name="T0" fmla="*/ 43 w 130"/>
                <a:gd name="T1" fmla="*/ 85 h 85"/>
                <a:gd name="T2" fmla="*/ 58 w 130"/>
                <a:gd name="T3" fmla="*/ 70 h 85"/>
                <a:gd name="T4" fmla="*/ 58 w 130"/>
                <a:gd name="T5" fmla="*/ 56 h 85"/>
                <a:gd name="T6" fmla="*/ 87 w 130"/>
                <a:gd name="T7" fmla="*/ 56 h 85"/>
                <a:gd name="T8" fmla="*/ 99 w 130"/>
                <a:gd name="T9" fmla="*/ 56 h 85"/>
                <a:gd name="T10" fmla="*/ 99 w 130"/>
                <a:gd name="T11" fmla="*/ 45 h 85"/>
                <a:gd name="T12" fmla="*/ 114 w 130"/>
                <a:gd name="T13" fmla="*/ 29 h 85"/>
                <a:gd name="T14" fmla="*/ 130 w 130"/>
                <a:gd name="T15" fmla="*/ 12 h 85"/>
                <a:gd name="T16" fmla="*/ 99 w 130"/>
                <a:gd name="T17" fmla="*/ 0 h 85"/>
                <a:gd name="T18" fmla="*/ 58 w 130"/>
                <a:gd name="T19" fmla="*/ 29 h 85"/>
                <a:gd name="T20" fmla="*/ 43 w 130"/>
                <a:gd name="T21" fmla="*/ 0 h 85"/>
                <a:gd name="T22" fmla="*/ 29 w 130"/>
                <a:gd name="T23" fmla="*/ 12 h 85"/>
                <a:gd name="T24" fmla="*/ 29 w 130"/>
                <a:gd name="T25" fmla="*/ 29 h 85"/>
                <a:gd name="T26" fmla="*/ 29 w 130"/>
                <a:gd name="T27" fmla="*/ 45 h 85"/>
                <a:gd name="T28" fmla="*/ 0 w 130"/>
                <a:gd name="T29" fmla="*/ 56 h 85"/>
                <a:gd name="T30" fmla="*/ 14 w 130"/>
                <a:gd name="T31" fmla="*/ 56 h 85"/>
                <a:gd name="T32" fmla="*/ 29 w 130"/>
                <a:gd name="T33" fmla="*/ 56 h 85"/>
                <a:gd name="T34" fmla="*/ 43 w 130"/>
                <a:gd name="T35" fmla="*/ 70 h 85"/>
                <a:gd name="T36" fmla="*/ 43 w 130"/>
                <a:gd name="T37" fmla="*/ 85 h 85"/>
                <a:gd name="T38" fmla="*/ 43 w 130"/>
                <a:gd name="T3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85">
                  <a:moveTo>
                    <a:pt x="43" y="85"/>
                  </a:moveTo>
                  <a:lnTo>
                    <a:pt x="58" y="70"/>
                  </a:lnTo>
                  <a:lnTo>
                    <a:pt x="58" y="56"/>
                  </a:lnTo>
                  <a:lnTo>
                    <a:pt x="87" y="56"/>
                  </a:lnTo>
                  <a:lnTo>
                    <a:pt x="99" y="56"/>
                  </a:lnTo>
                  <a:lnTo>
                    <a:pt x="99" y="45"/>
                  </a:lnTo>
                  <a:lnTo>
                    <a:pt x="114" y="29"/>
                  </a:lnTo>
                  <a:lnTo>
                    <a:pt x="130" y="12"/>
                  </a:lnTo>
                  <a:lnTo>
                    <a:pt x="99" y="0"/>
                  </a:lnTo>
                  <a:lnTo>
                    <a:pt x="58" y="29"/>
                  </a:lnTo>
                  <a:lnTo>
                    <a:pt x="43" y="0"/>
                  </a:lnTo>
                  <a:lnTo>
                    <a:pt x="29" y="12"/>
                  </a:lnTo>
                  <a:lnTo>
                    <a:pt x="29" y="29"/>
                  </a:lnTo>
                  <a:lnTo>
                    <a:pt x="29" y="45"/>
                  </a:lnTo>
                  <a:lnTo>
                    <a:pt x="0" y="56"/>
                  </a:lnTo>
                  <a:lnTo>
                    <a:pt x="14" y="56"/>
                  </a:lnTo>
                  <a:lnTo>
                    <a:pt x="29" y="56"/>
                  </a:lnTo>
                  <a:lnTo>
                    <a:pt x="43" y="70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9" name="Freeform 19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5505450" y="3132138"/>
              <a:ext cx="50800" cy="47625"/>
            </a:xfrm>
            <a:custGeom>
              <a:avLst/>
              <a:gdLst>
                <a:gd name="T0" fmla="*/ 29 w 56"/>
                <a:gd name="T1" fmla="*/ 57 h 57"/>
                <a:gd name="T2" fmla="*/ 29 w 56"/>
                <a:gd name="T3" fmla="*/ 29 h 57"/>
                <a:gd name="T4" fmla="*/ 15 w 56"/>
                <a:gd name="T5" fmla="*/ 29 h 57"/>
                <a:gd name="T6" fmla="*/ 0 w 56"/>
                <a:gd name="T7" fmla="*/ 29 h 57"/>
                <a:gd name="T8" fmla="*/ 0 w 56"/>
                <a:gd name="T9" fmla="*/ 16 h 57"/>
                <a:gd name="T10" fmla="*/ 15 w 56"/>
                <a:gd name="T11" fmla="*/ 16 h 57"/>
                <a:gd name="T12" fmla="*/ 29 w 56"/>
                <a:gd name="T13" fmla="*/ 0 h 57"/>
                <a:gd name="T14" fmla="*/ 56 w 56"/>
                <a:gd name="T15" fmla="*/ 16 h 57"/>
                <a:gd name="T16" fmla="*/ 56 w 56"/>
                <a:gd name="T17" fmla="*/ 29 h 57"/>
                <a:gd name="T18" fmla="*/ 44 w 56"/>
                <a:gd name="T19" fmla="*/ 43 h 57"/>
                <a:gd name="T20" fmla="*/ 29 w 56"/>
                <a:gd name="T21" fmla="*/ 57 h 57"/>
                <a:gd name="T22" fmla="*/ 29 w 56"/>
                <a:gd name="T2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57">
                  <a:moveTo>
                    <a:pt x="29" y="57"/>
                  </a:moveTo>
                  <a:lnTo>
                    <a:pt x="29" y="29"/>
                  </a:lnTo>
                  <a:lnTo>
                    <a:pt x="15" y="29"/>
                  </a:lnTo>
                  <a:lnTo>
                    <a:pt x="0" y="29"/>
                  </a:lnTo>
                  <a:lnTo>
                    <a:pt x="0" y="16"/>
                  </a:lnTo>
                  <a:lnTo>
                    <a:pt x="15" y="16"/>
                  </a:lnTo>
                  <a:lnTo>
                    <a:pt x="29" y="0"/>
                  </a:lnTo>
                  <a:lnTo>
                    <a:pt x="56" y="16"/>
                  </a:lnTo>
                  <a:lnTo>
                    <a:pt x="56" y="29"/>
                  </a:lnTo>
                  <a:lnTo>
                    <a:pt x="44" y="43"/>
                  </a:lnTo>
                  <a:lnTo>
                    <a:pt x="29" y="57"/>
                  </a:lnTo>
                  <a:lnTo>
                    <a:pt x="29" y="57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0" name="Freeform 20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5991225" y="4437063"/>
              <a:ext cx="449263" cy="392113"/>
            </a:xfrm>
            <a:custGeom>
              <a:avLst/>
              <a:gdLst>
                <a:gd name="T0" fmla="*/ 17 w 458"/>
                <a:gd name="T1" fmla="*/ 70 h 483"/>
                <a:gd name="T2" fmla="*/ 29 w 458"/>
                <a:gd name="T3" fmla="*/ 113 h 483"/>
                <a:gd name="T4" fmla="*/ 58 w 458"/>
                <a:gd name="T5" fmla="*/ 140 h 483"/>
                <a:gd name="T6" fmla="*/ 101 w 458"/>
                <a:gd name="T7" fmla="*/ 156 h 483"/>
                <a:gd name="T8" fmla="*/ 114 w 458"/>
                <a:gd name="T9" fmla="*/ 185 h 483"/>
                <a:gd name="T10" fmla="*/ 159 w 458"/>
                <a:gd name="T11" fmla="*/ 198 h 483"/>
                <a:gd name="T12" fmla="*/ 173 w 458"/>
                <a:gd name="T13" fmla="*/ 241 h 483"/>
                <a:gd name="T14" fmla="*/ 188 w 458"/>
                <a:gd name="T15" fmla="*/ 299 h 483"/>
                <a:gd name="T16" fmla="*/ 173 w 458"/>
                <a:gd name="T17" fmla="*/ 340 h 483"/>
                <a:gd name="T18" fmla="*/ 188 w 458"/>
                <a:gd name="T19" fmla="*/ 369 h 483"/>
                <a:gd name="T20" fmla="*/ 173 w 458"/>
                <a:gd name="T21" fmla="*/ 398 h 483"/>
                <a:gd name="T22" fmla="*/ 173 w 458"/>
                <a:gd name="T23" fmla="*/ 454 h 483"/>
                <a:gd name="T24" fmla="*/ 200 w 458"/>
                <a:gd name="T25" fmla="*/ 468 h 483"/>
                <a:gd name="T26" fmla="*/ 229 w 458"/>
                <a:gd name="T27" fmla="*/ 483 h 483"/>
                <a:gd name="T28" fmla="*/ 272 w 458"/>
                <a:gd name="T29" fmla="*/ 483 h 483"/>
                <a:gd name="T30" fmla="*/ 301 w 458"/>
                <a:gd name="T31" fmla="*/ 454 h 483"/>
                <a:gd name="T32" fmla="*/ 328 w 458"/>
                <a:gd name="T33" fmla="*/ 454 h 483"/>
                <a:gd name="T34" fmla="*/ 343 w 458"/>
                <a:gd name="T35" fmla="*/ 468 h 483"/>
                <a:gd name="T36" fmla="*/ 359 w 458"/>
                <a:gd name="T37" fmla="*/ 441 h 483"/>
                <a:gd name="T38" fmla="*/ 343 w 458"/>
                <a:gd name="T39" fmla="*/ 412 h 483"/>
                <a:gd name="T40" fmla="*/ 359 w 458"/>
                <a:gd name="T41" fmla="*/ 382 h 483"/>
                <a:gd name="T42" fmla="*/ 372 w 458"/>
                <a:gd name="T43" fmla="*/ 398 h 483"/>
                <a:gd name="T44" fmla="*/ 415 w 458"/>
                <a:gd name="T45" fmla="*/ 382 h 483"/>
                <a:gd name="T46" fmla="*/ 444 w 458"/>
                <a:gd name="T47" fmla="*/ 369 h 483"/>
                <a:gd name="T48" fmla="*/ 458 w 458"/>
                <a:gd name="T49" fmla="*/ 340 h 483"/>
                <a:gd name="T50" fmla="*/ 429 w 458"/>
                <a:gd name="T51" fmla="*/ 324 h 483"/>
                <a:gd name="T52" fmla="*/ 401 w 458"/>
                <a:gd name="T53" fmla="*/ 299 h 483"/>
                <a:gd name="T54" fmla="*/ 415 w 458"/>
                <a:gd name="T55" fmla="*/ 285 h 483"/>
                <a:gd name="T56" fmla="*/ 388 w 458"/>
                <a:gd name="T57" fmla="*/ 256 h 483"/>
                <a:gd name="T58" fmla="*/ 374 w 458"/>
                <a:gd name="T59" fmla="*/ 225 h 483"/>
                <a:gd name="T60" fmla="*/ 359 w 458"/>
                <a:gd name="T61" fmla="*/ 214 h 483"/>
                <a:gd name="T62" fmla="*/ 345 w 458"/>
                <a:gd name="T63" fmla="*/ 185 h 483"/>
                <a:gd name="T64" fmla="*/ 316 w 458"/>
                <a:gd name="T65" fmla="*/ 156 h 483"/>
                <a:gd name="T66" fmla="*/ 303 w 458"/>
                <a:gd name="T67" fmla="*/ 140 h 483"/>
                <a:gd name="T68" fmla="*/ 303 w 458"/>
                <a:gd name="T69" fmla="*/ 84 h 483"/>
                <a:gd name="T70" fmla="*/ 289 w 458"/>
                <a:gd name="T71" fmla="*/ 70 h 483"/>
                <a:gd name="T72" fmla="*/ 258 w 458"/>
                <a:gd name="T73" fmla="*/ 41 h 483"/>
                <a:gd name="T74" fmla="*/ 233 w 458"/>
                <a:gd name="T75" fmla="*/ 41 h 483"/>
                <a:gd name="T76" fmla="*/ 202 w 458"/>
                <a:gd name="T77" fmla="*/ 26 h 483"/>
                <a:gd name="T78" fmla="*/ 175 w 458"/>
                <a:gd name="T79" fmla="*/ 26 h 483"/>
                <a:gd name="T80" fmla="*/ 130 w 458"/>
                <a:gd name="T81" fmla="*/ 12 h 483"/>
                <a:gd name="T82" fmla="*/ 89 w 458"/>
                <a:gd name="T83" fmla="*/ 0 h 483"/>
                <a:gd name="T84" fmla="*/ 60 w 458"/>
                <a:gd name="T85" fmla="*/ 26 h 483"/>
                <a:gd name="T86" fmla="*/ 2 w 458"/>
                <a:gd name="T87" fmla="*/ 41 h 483"/>
                <a:gd name="T88" fmla="*/ 0 w 458"/>
                <a:gd name="T89" fmla="*/ 39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8" h="483">
                  <a:moveTo>
                    <a:pt x="0" y="39"/>
                  </a:moveTo>
                  <a:lnTo>
                    <a:pt x="17" y="70"/>
                  </a:lnTo>
                  <a:lnTo>
                    <a:pt x="29" y="70"/>
                  </a:lnTo>
                  <a:lnTo>
                    <a:pt x="29" y="113"/>
                  </a:lnTo>
                  <a:lnTo>
                    <a:pt x="43" y="126"/>
                  </a:lnTo>
                  <a:lnTo>
                    <a:pt x="58" y="140"/>
                  </a:lnTo>
                  <a:lnTo>
                    <a:pt x="87" y="156"/>
                  </a:lnTo>
                  <a:lnTo>
                    <a:pt x="101" y="156"/>
                  </a:lnTo>
                  <a:lnTo>
                    <a:pt x="101" y="169"/>
                  </a:lnTo>
                  <a:lnTo>
                    <a:pt x="114" y="185"/>
                  </a:lnTo>
                  <a:lnTo>
                    <a:pt x="128" y="185"/>
                  </a:lnTo>
                  <a:lnTo>
                    <a:pt x="159" y="198"/>
                  </a:lnTo>
                  <a:lnTo>
                    <a:pt x="159" y="214"/>
                  </a:lnTo>
                  <a:lnTo>
                    <a:pt x="173" y="241"/>
                  </a:lnTo>
                  <a:lnTo>
                    <a:pt x="173" y="270"/>
                  </a:lnTo>
                  <a:lnTo>
                    <a:pt x="188" y="299"/>
                  </a:lnTo>
                  <a:lnTo>
                    <a:pt x="188" y="324"/>
                  </a:lnTo>
                  <a:lnTo>
                    <a:pt x="173" y="340"/>
                  </a:lnTo>
                  <a:lnTo>
                    <a:pt x="173" y="353"/>
                  </a:lnTo>
                  <a:lnTo>
                    <a:pt x="188" y="369"/>
                  </a:lnTo>
                  <a:lnTo>
                    <a:pt x="173" y="382"/>
                  </a:lnTo>
                  <a:lnTo>
                    <a:pt x="173" y="398"/>
                  </a:lnTo>
                  <a:lnTo>
                    <a:pt x="173" y="427"/>
                  </a:lnTo>
                  <a:lnTo>
                    <a:pt x="173" y="454"/>
                  </a:lnTo>
                  <a:lnTo>
                    <a:pt x="173" y="468"/>
                  </a:lnTo>
                  <a:lnTo>
                    <a:pt x="200" y="468"/>
                  </a:lnTo>
                  <a:lnTo>
                    <a:pt x="215" y="483"/>
                  </a:lnTo>
                  <a:lnTo>
                    <a:pt x="229" y="483"/>
                  </a:lnTo>
                  <a:lnTo>
                    <a:pt x="244" y="483"/>
                  </a:lnTo>
                  <a:lnTo>
                    <a:pt x="272" y="483"/>
                  </a:lnTo>
                  <a:lnTo>
                    <a:pt x="287" y="468"/>
                  </a:lnTo>
                  <a:lnTo>
                    <a:pt x="301" y="454"/>
                  </a:lnTo>
                  <a:lnTo>
                    <a:pt x="314" y="441"/>
                  </a:lnTo>
                  <a:lnTo>
                    <a:pt x="328" y="454"/>
                  </a:lnTo>
                  <a:lnTo>
                    <a:pt x="343" y="454"/>
                  </a:lnTo>
                  <a:lnTo>
                    <a:pt x="343" y="468"/>
                  </a:lnTo>
                  <a:lnTo>
                    <a:pt x="359" y="468"/>
                  </a:lnTo>
                  <a:lnTo>
                    <a:pt x="359" y="441"/>
                  </a:lnTo>
                  <a:lnTo>
                    <a:pt x="359" y="427"/>
                  </a:lnTo>
                  <a:lnTo>
                    <a:pt x="343" y="412"/>
                  </a:lnTo>
                  <a:lnTo>
                    <a:pt x="343" y="398"/>
                  </a:lnTo>
                  <a:lnTo>
                    <a:pt x="359" y="382"/>
                  </a:lnTo>
                  <a:lnTo>
                    <a:pt x="372" y="382"/>
                  </a:lnTo>
                  <a:lnTo>
                    <a:pt x="372" y="398"/>
                  </a:lnTo>
                  <a:lnTo>
                    <a:pt x="386" y="382"/>
                  </a:lnTo>
                  <a:lnTo>
                    <a:pt x="415" y="382"/>
                  </a:lnTo>
                  <a:lnTo>
                    <a:pt x="429" y="369"/>
                  </a:lnTo>
                  <a:lnTo>
                    <a:pt x="444" y="369"/>
                  </a:lnTo>
                  <a:lnTo>
                    <a:pt x="458" y="369"/>
                  </a:lnTo>
                  <a:lnTo>
                    <a:pt x="458" y="340"/>
                  </a:lnTo>
                  <a:lnTo>
                    <a:pt x="444" y="324"/>
                  </a:lnTo>
                  <a:lnTo>
                    <a:pt x="429" y="324"/>
                  </a:lnTo>
                  <a:lnTo>
                    <a:pt x="401" y="313"/>
                  </a:lnTo>
                  <a:lnTo>
                    <a:pt x="401" y="299"/>
                  </a:lnTo>
                  <a:lnTo>
                    <a:pt x="415" y="299"/>
                  </a:lnTo>
                  <a:lnTo>
                    <a:pt x="415" y="285"/>
                  </a:lnTo>
                  <a:lnTo>
                    <a:pt x="403" y="270"/>
                  </a:lnTo>
                  <a:lnTo>
                    <a:pt x="388" y="256"/>
                  </a:lnTo>
                  <a:lnTo>
                    <a:pt x="374" y="241"/>
                  </a:lnTo>
                  <a:lnTo>
                    <a:pt x="374" y="225"/>
                  </a:lnTo>
                  <a:lnTo>
                    <a:pt x="374" y="214"/>
                  </a:lnTo>
                  <a:lnTo>
                    <a:pt x="359" y="214"/>
                  </a:lnTo>
                  <a:lnTo>
                    <a:pt x="345" y="214"/>
                  </a:lnTo>
                  <a:lnTo>
                    <a:pt x="345" y="185"/>
                  </a:lnTo>
                  <a:lnTo>
                    <a:pt x="330" y="156"/>
                  </a:lnTo>
                  <a:lnTo>
                    <a:pt x="316" y="156"/>
                  </a:lnTo>
                  <a:lnTo>
                    <a:pt x="303" y="156"/>
                  </a:lnTo>
                  <a:lnTo>
                    <a:pt x="303" y="140"/>
                  </a:lnTo>
                  <a:lnTo>
                    <a:pt x="303" y="113"/>
                  </a:lnTo>
                  <a:lnTo>
                    <a:pt x="303" y="84"/>
                  </a:lnTo>
                  <a:lnTo>
                    <a:pt x="289" y="84"/>
                  </a:lnTo>
                  <a:lnTo>
                    <a:pt x="289" y="70"/>
                  </a:lnTo>
                  <a:lnTo>
                    <a:pt x="289" y="55"/>
                  </a:lnTo>
                  <a:lnTo>
                    <a:pt x="258" y="41"/>
                  </a:lnTo>
                  <a:lnTo>
                    <a:pt x="258" y="55"/>
                  </a:lnTo>
                  <a:lnTo>
                    <a:pt x="233" y="41"/>
                  </a:lnTo>
                  <a:lnTo>
                    <a:pt x="217" y="26"/>
                  </a:lnTo>
                  <a:lnTo>
                    <a:pt x="202" y="26"/>
                  </a:lnTo>
                  <a:lnTo>
                    <a:pt x="190" y="41"/>
                  </a:lnTo>
                  <a:lnTo>
                    <a:pt x="175" y="26"/>
                  </a:lnTo>
                  <a:lnTo>
                    <a:pt x="161" y="12"/>
                  </a:lnTo>
                  <a:lnTo>
                    <a:pt x="130" y="12"/>
                  </a:lnTo>
                  <a:lnTo>
                    <a:pt x="130" y="0"/>
                  </a:lnTo>
                  <a:lnTo>
                    <a:pt x="89" y="0"/>
                  </a:lnTo>
                  <a:lnTo>
                    <a:pt x="74" y="12"/>
                  </a:lnTo>
                  <a:lnTo>
                    <a:pt x="60" y="26"/>
                  </a:lnTo>
                  <a:lnTo>
                    <a:pt x="17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1" name="Freeform 21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5991225" y="4437063"/>
              <a:ext cx="449263" cy="392113"/>
            </a:xfrm>
            <a:custGeom>
              <a:avLst/>
              <a:gdLst>
                <a:gd name="T0" fmla="*/ 17 w 458"/>
                <a:gd name="T1" fmla="*/ 70 h 483"/>
                <a:gd name="T2" fmla="*/ 29 w 458"/>
                <a:gd name="T3" fmla="*/ 113 h 483"/>
                <a:gd name="T4" fmla="*/ 58 w 458"/>
                <a:gd name="T5" fmla="*/ 140 h 483"/>
                <a:gd name="T6" fmla="*/ 101 w 458"/>
                <a:gd name="T7" fmla="*/ 156 h 483"/>
                <a:gd name="T8" fmla="*/ 114 w 458"/>
                <a:gd name="T9" fmla="*/ 185 h 483"/>
                <a:gd name="T10" fmla="*/ 159 w 458"/>
                <a:gd name="T11" fmla="*/ 198 h 483"/>
                <a:gd name="T12" fmla="*/ 173 w 458"/>
                <a:gd name="T13" fmla="*/ 241 h 483"/>
                <a:gd name="T14" fmla="*/ 188 w 458"/>
                <a:gd name="T15" fmla="*/ 299 h 483"/>
                <a:gd name="T16" fmla="*/ 173 w 458"/>
                <a:gd name="T17" fmla="*/ 340 h 483"/>
                <a:gd name="T18" fmla="*/ 188 w 458"/>
                <a:gd name="T19" fmla="*/ 369 h 483"/>
                <a:gd name="T20" fmla="*/ 173 w 458"/>
                <a:gd name="T21" fmla="*/ 398 h 483"/>
                <a:gd name="T22" fmla="*/ 173 w 458"/>
                <a:gd name="T23" fmla="*/ 454 h 483"/>
                <a:gd name="T24" fmla="*/ 200 w 458"/>
                <a:gd name="T25" fmla="*/ 468 h 483"/>
                <a:gd name="T26" fmla="*/ 229 w 458"/>
                <a:gd name="T27" fmla="*/ 483 h 483"/>
                <a:gd name="T28" fmla="*/ 272 w 458"/>
                <a:gd name="T29" fmla="*/ 483 h 483"/>
                <a:gd name="T30" fmla="*/ 301 w 458"/>
                <a:gd name="T31" fmla="*/ 454 h 483"/>
                <a:gd name="T32" fmla="*/ 328 w 458"/>
                <a:gd name="T33" fmla="*/ 454 h 483"/>
                <a:gd name="T34" fmla="*/ 343 w 458"/>
                <a:gd name="T35" fmla="*/ 468 h 483"/>
                <a:gd name="T36" fmla="*/ 359 w 458"/>
                <a:gd name="T37" fmla="*/ 441 h 483"/>
                <a:gd name="T38" fmla="*/ 343 w 458"/>
                <a:gd name="T39" fmla="*/ 412 h 483"/>
                <a:gd name="T40" fmla="*/ 359 w 458"/>
                <a:gd name="T41" fmla="*/ 382 h 483"/>
                <a:gd name="T42" fmla="*/ 372 w 458"/>
                <a:gd name="T43" fmla="*/ 398 h 483"/>
                <a:gd name="T44" fmla="*/ 415 w 458"/>
                <a:gd name="T45" fmla="*/ 382 h 483"/>
                <a:gd name="T46" fmla="*/ 444 w 458"/>
                <a:gd name="T47" fmla="*/ 369 h 483"/>
                <a:gd name="T48" fmla="*/ 458 w 458"/>
                <a:gd name="T49" fmla="*/ 340 h 483"/>
                <a:gd name="T50" fmla="*/ 429 w 458"/>
                <a:gd name="T51" fmla="*/ 324 h 483"/>
                <a:gd name="T52" fmla="*/ 401 w 458"/>
                <a:gd name="T53" fmla="*/ 299 h 483"/>
                <a:gd name="T54" fmla="*/ 415 w 458"/>
                <a:gd name="T55" fmla="*/ 285 h 483"/>
                <a:gd name="T56" fmla="*/ 388 w 458"/>
                <a:gd name="T57" fmla="*/ 256 h 483"/>
                <a:gd name="T58" fmla="*/ 374 w 458"/>
                <a:gd name="T59" fmla="*/ 225 h 483"/>
                <a:gd name="T60" fmla="*/ 359 w 458"/>
                <a:gd name="T61" fmla="*/ 214 h 483"/>
                <a:gd name="T62" fmla="*/ 345 w 458"/>
                <a:gd name="T63" fmla="*/ 185 h 483"/>
                <a:gd name="T64" fmla="*/ 316 w 458"/>
                <a:gd name="T65" fmla="*/ 156 h 483"/>
                <a:gd name="T66" fmla="*/ 303 w 458"/>
                <a:gd name="T67" fmla="*/ 140 h 483"/>
                <a:gd name="T68" fmla="*/ 303 w 458"/>
                <a:gd name="T69" fmla="*/ 84 h 483"/>
                <a:gd name="T70" fmla="*/ 289 w 458"/>
                <a:gd name="T71" fmla="*/ 70 h 483"/>
                <a:gd name="T72" fmla="*/ 258 w 458"/>
                <a:gd name="T73" fmla="*/ 41 h 483"/>
                <a:gd name="T74" fmla="*/ 233 w 458"/>
                <a:gd name="T75" fmla="*/ 41 h 483"/>
                <a:gd name="T76" fmla="*/ 202 w 458"/>
                <a:gd name="T77" fmla="*/ 26 h 483"/>
                <a:gd name="T78" fmla="*/ 175 w 458"/>
                <a:gd name="T79" fmla="*/ 26 h 483"/>
                <a:gd name="T80" fmla="*/ 130 w 458"/>
                <a:gd name="T81" fmla="*/ 12 h 483"/>
                <a:gd name="T82" fmla="*/ 89 w 458"/>
                <a:gd name="T83" fmla="*/ 0 h 483"/>
                <a:gd name="T84" fmla="*/ 60 w 458"/>
                <a:gd name="T85" fmla="*/ 26 h 483"/>
                <a:gd name="T86" fmla="*/ 2 w 458"/>
                <a:gd name="T87" fmla="*/ 41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8" h="483">
                  <a:moveTo>
                    <a:pt x="0" y="39"/>
                  </a:moveTo>
                  <a:lnTo>
                    <a:pt x="17" y="70"/>
                  </a:lnTo>
                  <a:lnTo>
                    <a:pt x="29" y="70"/>
                  </a:lnTo>
                  <a:lnTo>
                    <a:pt x="29" y="113"/>
                  </a:lnTo>
                  <a:lnTo>
                    <a:pt x="43" y="126"/>
                  </a:lnTo>
                  <a:lnTo>
                    <a:pt x="58" y="140"/>
                  </a:lnTo>
                  <a:lnTo>
                    <a:pt x="87" y="156"/>
                  </a:lnTo>
                  <a:lnTo>
                    <a:pt x="101" y="156"/>
                  </a:lnTo>
                  <a:lnTo>
                    <a:pt x="101" y="169"/>
                  </a:lnTo>
                  <a:lnTo>
                    <a:pt x="114" y="185"/>
                  </a:lnTo>
                  <a:lnTo>
                    <a:pt x="128" y="185"/>
                  </a:lnTo>
                  <a:lnTo>
                    <a:pt x="159" y="198"/>
                  </a:lnTo>
                  <a:lnTo>
                    <a:pt x="159" y="214"/>
                  </a:lnTo>
                  <a:lnTo>
                    <a:pt x="173" y="241"/>
                  </a:lnTo>
                  <a:lnTo>
                    <a:pt x="173" y="270"/>
                  </a:lnTo>
                  <a:lnTo>
                    <a:pt x="188" y="299"/>
                  </a:lnTo>
                  <a:lnTo>
                    <a:pt x="188" y="324"/>
                  </a:lnTo>
                  <a:lnTo>
                    <a:pt x="173" y="340"/>
                  </a:lnTo>
                  <a:lnTo>
                    <a:pt x="173" y="353"/>
                  </a:lnTo>
                  <a:lnTo>
                    <a:pt x="188" y="369"/>
                  </a:lnTo>
                  <a:lnTo>
                    <a:pt x="173" y="382"/>
                  </a:lnTo>
                  <a:lnTo>
                    <a:pt x="173" y="398"/>
                  </a:lnTo>
                  <a:lnTo>
                    <a:pt x="173" y="427"/>
                  </a:lnTo>
                  <a:lnTo>
                    <a:pt x="173" y="454"/>
                  </a:lnTo>
                  <a:lnTo>
                    <a:pt x="173" y="468"/>
                  </a:lnTo>
                  <a:lnTo>
                    <a:pt x="200" y="468"/>
                  </a:lnTo>
                  <a:lnTo>
                    <a:pt x="215" y="483"/>
                  </a:lnTo>
                  <a:lnTo>
                    <a:pt x="229" y="483"/>
                  </a:lnTo>
                  <a:lnTo>
                    <a:pt x="244" y="483"/>
                  </a:lnTo>
                  <a:lnTo>
                    <a:pt x="272" y="483"/>
                  </a:lnTo>
                  <a:lnTo>
                    <a:pt x="287" y="468"/>
                  </a:lnTo>
                  <a:lnTo>
                    <a:pt x="301" y="454"/>
                  </a:lnTo>
                  <a:lnTo>
                    <a:pt x="314" y="441"/>
                  </a:lnTo>
                  <a:lnTo>
                    <a:pt x="328" y="454"/>
                  </a:lnTo>
                  <a:lnTo>
                    <a:pt x="343" y="454"/>
                  </a:lnTo>
                  <a:lnTo>
                    <a:pt x="343" y="468"/>
                  </a:lnTo>
                  <a:lnTo>
                    <a:pt x="359" y="468"/>
                  </a:lnTo>
                  <a:lnTo>
                    <a:pt x="359" y="441"/>
                  </a:lnTo>
                  <a:lnTo>
                    <a:pt x="359" y="427"/>
                  </a:lnTo>
                  <a:lnTo>
                    <a:pt x="343" y="412"/>
                  </a:lnTo>
                  <a:lnTo>
                    <a:pt x="343" y="398"/>
                  </a:lnTo>
                  <a:lnTo>
                    <a:pt x="359" y="382"/>
                  </a:lnTo>
                  <a:lnTo>
                    <a:pt x="372" y="382"/>
                  </a:lnTo>
                  <a:lnTo>
                    <a:pt x="372" y="398"/>
                  </a:lnTo>
                  <a:lnTo>
                    <a:pt x="386" y="382"/>
                  </a:lnTo>
                  <a:lnTo>
                    <a:pt x="415" y="382"/>
                  </a:lnTo>
                  <a:lnTo>
                    <a:pt x="429" y="369"/>
                  </a:lnTo>
                  <a:lnTo>
                    <a:pt x="444" y="369"/>
                  </a:lnTo>
                  <a:lnTo>
                    <a:pt x="458" y="369"/>
                  </a:lnTo>
                  <a:lnTo>
                    <a:pt x="458" y="340"/>
                  </a:lnTo>
                  <a:lnTo>
                    <a:pt x="444" y="324"/>
                  </a:lnTo>
                  <a:lnTo>
                    <a:pt x="429" y="324"/>
                  </a:lnTo>
                  <a:lnTo>
                    <a:pt x="401" y="313"/>
                  </a:lnTo>
                  <a:lnTo>
                    <a:pt x="401" y="299"/>
                  </a:lnTo>
                  <a:lnTo>
                    <a:pt x="415" y="299"/>
                  </a:lnTo>
                  <a:lnTo>
                    <a:pt x="415" y="285"/>
                  </a:lnTo>
                  <a:lnTo>
                    <a:pt x="403" y="270"/>
                  </a:lnTo>
                  <a:lnTo>
                    <a:pt x="388" y="256"/>
                  </a:lnTo>
                  <a:lnTo>
                    <a:pt x="374" y="241"/>
                  </a:lnTo>
                  <a:lnTo>
                    <a:pt x="374" y="225"/>
                  </a:lnTo>
                  <a:lnTo>
                    <a:pt x="374" y="214"/>
                  </a:lnTo>
                  <a:lnTo>
                    <a:pt x="359" y="214"/>
                  </a:lnTo>
                  <a:lnTo>
                    <a:pt x="345" y="214"/>
                  </a:lnTo>
                  <a:lnTo>
                    <a:pt x="345" y="185"/>
                  </a:lnTo>
                  <a:lnTo>
                    <a:pt x="330" y="156"/>
                  </a:lnTo>
                  <a:lnTo>
                    <a:pt x="316" y="156"/>
                  </a:lnTo>
                  <a:lnTo>
                    <a:pt x="303" y="156"/>
                  </a:lnTo>
                  <a:lnTo>
                    <a:pt x="303" y="140"/>
                  </a:lnTo>
                  <a:lnTo>
                    <a:pt x="303" y="113"/>
                  </a:lnTo>
                  <a:lnTo>
                    <a:pt x="303" y="84"/>
                  </a:lnTo>
                  <a:lnTo>
                    <a:pt x="289" y="84"/>
                  </a:lnTo>
                  <a:lnTo>
                    <a:pt x="289" y="70"/>
                  </a:lnTo>
                  <a:lnTo>
                    <a:pt x="289" y="55"/>
                  </a:lnTo>
                  <a:lnTo>
                    <a:pt x="258" y="41"/>
                  </a:lnTo>
                  <a:lnTo>
                    <a:pt x="258" y="55"/>
                  </a:lnTo>
                  <a:lnTo>
                    <a:pt x="233" y="41"/>
                  </a:lnTo>
                  <a:lnTo>
                    <a:pt x="217" y="26"/>
                  </a:lnTo>
                  <a:lnTo>
                    <a:pt x="202" y="26"/>
                  </a:lnTo>
                  <a:lnTo>
                    <a:pt x="190" y="41"/>
                  </a:lnTo>
                  <a:lnTo>
                    <a:pt x="175" y="26"/>
                  </a:lnTo>
                  <a:lnTo>
                    <a:pt x="161" y="12"/>
                  </a:lnTo>
                  <a:lnTo>
                    <a:pt x="130" y="12"/>
                  </a:lnTo>
                  <a:lnTo>
                    <a:pt x="130" y="0"/>
                  </a:lnTo>
                  <a:lnTo>
                    <a:pt x="89" y="0"/>
                  </a:lnTo>
                  <a:lnTo>
                    <a:pt x="74" y="12"/>
                  </a:lnTo>
                  <a:lnTo>
                    <a:pt x="60" y="26"/>
                  </a:lnTo>
                  <a:lnTo>
                    <a:pt x="17" y="41"/>
                  </a:lnTo>
                  <a:lnTo>
                    <a:pt x="2" y="41"/>
                  </a:lnTo>
                  <a:lnTo>
                    <a:pt x="2" y="41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2" name="Freeform 22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873250" y="4611688"/>
              <a:ext cx="1455738" cy="1022350"/>
            </a:xfrm>
            <a:custGeom>
              <a:avLst/>
              <a:gdLst>
                <a:gd name="T0" fmla="*/ 642 w 1103"/>
                <a:gd name="T1" fmla="*/ 175 h 839"/>
                <a:gd name="T2" fmla="*/ 579 w 1103"/>
                <a:gd name="T3" fmla="*/ 153 h 839"/>
                <a:gd name="T4" fmla="*/ 503 w 1103"/>
                <a:gd name="T5" fmla="*/ 125 h 839"/>
                <a:gd name="T6" fmla="*/ 451 w 1103"/>
                <a:gd name="T7" fmla="*/ 105 h 839"/>
                <a:gd name="T8" fmla="*/ 375 w 1103"/>
                <a:gd name="T9" fmla="*/ 77 h 839"/>
                <a:gd name="T10" fmla="*/ 311 w 1103"/>
                <a:gd name="T11" fmla="*/ 57 h 839"/>
                <a:gd name="T12" fmla="*/ 246 w 1103"/>
                <a:gd name="T13" fmla="*/ 19 h 839"/>
                <a:gd name="T14" fmla="*/ 203 w 1103"/>
                <a:gd name="T15" fmla="*/ 0 h 839"/>
                <a:gd name="T16" fmla="*/ 182 w 1103"/>
                <a:gd name="T17" fmla="*/ 19 h 839"/>
                <a:gd name="T18" fmla="*/ 139 w 1103"/>
                <a:gd name="T19" fmla="*/ 19 h 839"/>
                <a:gd name="T20" fmla="*/ 87 w 1103"/>
                <a:gd name="T21" fmla="*/ 28 h 839"/>
                <a:gd name="T22" fmla="*/ 96 w 1103"/>
                <a:gd name="T23" fmla="*/ 57 h 839"/>
                <a:gd name="T24" fmla="*/ 87 w 1103"/>
                <a:gd name="T25" fmla="*/ 67 h 839"/>
                <a:gd name="T26" fmla="*/ 87 w 1103"/>
                <a:gd name="T27" fmla="*/ 105 h 839"/>
                <a:gd name="T28" fmla="*/ 65 w 1103"/>
                <a:gd name="T29" fmla="*/ 125 h 839"/>
                <a:gd name="T30" fmla="*/ 118 w 1103"/>
                <a:gd name="T31" fmla="*/ 144 h 839"/>
                <a:gd name="T32" fmla="*/ 139 w 1103"/>
                <a:gd name="T33" fmla="*/ 175 h 839"/>
                <a:gd name="T34" fmla="*/ 193 w 1103"/>
                <a:gd name="T35" fmla="*/ 194 h 839"/>
                <a:gd name="T36" fmla="*/ 225 w 1103"/>
                <a:gd name="T37" fmla="*/ 202 h 839"/>
                <a:gd name="T38" fmla="*/ 246 w 1103"/>
                <a:gd name="T39" fmla="*/ 232 h 839"/>
                <a:gd name="T40" fmla="*/ 257 w 1103"/>
                <a:gd name="T41" fmla="*/ 260 h 839"/>
                <a:gd name="T42" fmla="*/ 225 w 1103"/>
                <a:gd name="T43" fmla="*/ 280 h 839"/>
                <a:gd name="T44" fmla="*/ 193 w 1103"/>
                <a:gd name="T45" fmla="*/ 308 h 839"/>
                <a:gd name="T46" fmla="*/ 171 w 1103"/>
                <a:gd name="T47" fmla="*/ 357 h 839"/>
                <a:gd name="T48" fmla="*/ 150 w 1103"/>
                <a:gd name="T49" fmla="*/ 386 h 839"/>
                <a:gd name="T50" fmla="*/ 108 w 1103"/>
                <a:gd name="T51" fmla="*/ 433 h 839"/>
                <a:gd name="T52" fmla="*/ 96 w 1103"/>
                <a:gd name="T53" fmla="*/ 473 h 839"/>
                <a:gd name="T54" fmla="*/ 75 w 1103"/>
                <a:gd name="T55" fmla="*/ 521 h 839"/>
                <a:gd name="T56" fmla="*/ 53 w 1103"/>
                <a:gd name="T57" fmla="*/ 560 h 839"/>
                <a:gd name="T58" fmla="*/ 44 w 1103"/>
                <a:gd name="T59" fmla="*/ 588 h 839"/>
                <a:gd name="T60" fmla="*/ 10 w 1103"/>
                <a:gd name="T61" fmla="*/ 608 h 839"/>
                <a:gd name="T62" fmla="*/ 22 w 1103"/>
                <a:gd name="T63" fmla="*/ 655 h 839"/>
                <a:gd name="T64" fmla="*/ 75 w 1103"/>
                <a:gd name="T65" fmla="*/ 705 h 839"/>
                <a:gd name="T66" fmla="*/ 96 w 1103"/>
                <a:gd name="T67" fmla="*/ 733 h 839"/>
                <a:gd name="T68" fmla="*/ 75 w 1103"/>
                <a:gd name="T69" fmla="*/ 792 h 839"/>
                <a:gd name="T70" fmla="*/ 128 w 1103"/>
                <a:gd name="T71" fmla="*/ 819 h 839"/>
                <a:gd name="T72" fmla="*/ 193 w 1103"/>
                <a:gd name="T73" fmla="*/ 792 h 839"/>
                <a:gd name="T74" fmla="*/ 278 w 1103"/>
                <a:gd name="T75" fmla="*/ 792 h 839"/>
                <a:gd name="T76" fmla="*/ 375 w 1103"/>
                <a:gd name="T77" fmla="*/ 819 h 839"/>
                <a:gd name="T78" fmla="*/ 451 w 1103"/>
                <a:gd name="T79" fmla="*/ 828 h 839"/>
                <a:gd name="T80" fmla="*/ 482 w 1103"/>
                <a:gd name="T81" fmla="*/ 819 h 839"/>
                <a:gd name="T82" fmla="*/ 536 w 1103"/>
                <a:gd name="T83" fmla="*/ 781 h 839"/>
                <a:gd name="T84" fmla="*/ 621 w 1103"/>
                <a:gd name="T85" fmla="*/ 772 h 839"/>
                <a:gd name="T86" fmla="*/ 654 w 1103"/>
                <a:gd name="T87" fmla="*/ 723 h 839"/>
                <a:gd name="T88" fmla="*/ 717 w 1103"/>
                <a:gd name="T89" fmla="*/ 684 h 839"/>
                <a:gd name="T90" fmla="*/ 707 w 1103"/>
                <a:gd name="T91" fmla="*/ 627 h 839"/>
                <a:gd name="T92" fmla="*/ 770 w 1103"/>
                <a:gd name="T93" fmla="*/ 560 h 839"/>
                <a:gd name="T94" fmla="*/ 847 w 1103"/>
                <a:gd name="T95" fmla="*/ 511 h 839"/>
                <a:gd name="T96" fmla="*/ 857 w 1103"/>
                <a:gd name="T97" fmla="*/ 492 h 839"/>
                <a:gd name="T98" fmla="*/ 942 w 1103"/>
                <a:gd name="T99" fmla="*/ 482 h 839"/>
                <a:gd name="T100" fmla="*/ 1007 w 1103"/>
                <a:gd name="T101" fmla="*/ 473 h 839"/>
                <a:gd name="T102" fmla="*/ 1071 w 1103"/>
                <a:gd name="T103" fmla="*/ 453 h 839"/>
                <a:gd name="T104" fmla="*/ 1103 w 1103"/>
                <a:gd name="T105" fmla="*/ 405 h 839"/>
                <a:gd name="T106" fmla="*/ 1071 w 1103"/>
                <a:gd name="T107" fmla="*/ 376 h 839"/>
                <a:gd name="T108" fmla="*/ 1006 w 1103"/>
                <a:gd name="T109" fmla="*/ 378 h 839"/>
                <a:gd name="T110" fmla="*/ 953 w 1103"/>
                <a:gd name="T111" fmla="*/ 347 h 839"/>
                <a:gd name="T112" fmla="*/ 910 w 1103"/>
                <a:gd name="T113" fmla="*/ 319 h 839"/>
                <a:gd name="T114" fmla="*/ 847 w 1103"/>
                <a:gd name="T115" fmla="*/ 300 h 839"/>
                <a:gd name="T116" fmla="*/ 770 w 1103"/>
                <a:gd name="T117" fmla="*/ 251 h 839"/>
                <a:gd name="T118" fmla="*/ 727 w 1103"/>
                <a:gd name="T119" fmla="*/ 221 h 839"/>
                <a:gd name="T120" fmla="*/ 706 w 1103"/>
                <a:gd name="T121" fmla="*/ 193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03" h="839">
                  <a:moveTo>
                    <a:pt x="706" y="193"/>
                  </a:moveTo>
                  <a:lnTo>
                    <a:pt x="695" y="194"/>
                  </a:lnTo>
                  <a:lnTo>
                    <a:pt x="684" y="183"/>
                  </a:lnTo>
                  <a:lnTo>
                    <a:pt x="664" y="183"/>
                  </a:lnTo>
                  <a:lnTo>
                    <a:pt x="642" y="175"/>
                  </a:lnTo>
                  <a:lnTo>
                    <a:pt x="632" y="164"/>
                  </a:lnTo>
                  <a:lnTo>
                    <a:pt x="621" y="164"/>
                  </a:lnTo>
                  <a:lnTo>
                    <a:pt x="611" y="164"/>
                  </a:lnTo>
                  <a:lnTo>
                    <a:pt x="589" y="164"/>
                  </a:lnTo>
                  <a:lnTo>
                    <a:pt x="579" y="153"/>
                  </a:lnTo>
                  <a:lnTo>
                    <a:pt x="568" y="135"/>
                  </a:lnTo>
                  <a:lnTo>
                    <a:pt x="546" y="135"/>
                  </a:lnTo>
                  <a:lnTo>
                    <a:pt x="536" y="125"/>
                  </a:lnTo>
                  <a:lnTo>
                    <a:pt x="526" y="125"/>
                  </a:lnTo>
                  <a:lnTo>
                    <a:pt x="503" y="125"/>
                  </a:lnTo>
                  <a:lnTo>
                    <a:pt x="493" y="125"/>
                  </a:lnTo>
                  <a:lnTo>
                    <a:pt x="482" y="116"/>
                  </a:lnTo>
                  <a:lnTo>
                    <a:pt x="471" y="116"/>
                  </a:lnTo>
                  <a:lnTo>
                    <a:pt x="461" y="116"/>
                  </a:lnTo>
                  <a:lnTo>
                    <a:pt x="451" y="105"/>
                  </a:lnTo>
                  <a:lnTo>
                    <a:pt x="439" y="96"/>
                  </a:lnTo>
                  <a:lnTo>
                    <a:pt x="429" y="96"/>
                  </a:lnTo>
                  <a:lnTo>
                    <a:pt x="408" y="87"/>
                  </a:lnTo>
                  <a:lnTo>
                    <a:pt x="396" y="87"/>
                  </a:lnTo>
                  <a:lnTo>
                    <a:pt x="375" y="77"/>
                  </a:lnTo>
                  <a:lnTo>
                    <a:pt x="375" y="67"/>
                  </a:lnTo>
                  <a:lnTo>
                    <a:pt x="353" y="67"/>
                  </a:lnTo>
                  <a:lnTo>
                    <a:pt x="343" y="57"/>
                  </a:lnTo>
                  <a:lnTo>
                    <a:pt x="332" y="57"/>
                  </a:lnTo>
                  <a:lnTo>
                    <a:pt x="311" y="57"/>
                  </a:lnTo>
                  <a:lnTo>
                    <a:pt x="300" y="48"/>
                  </a:lnTo>
                  <a:lnTo>
                    <a:pt x="288" y="39"/>
                  </a:lnTo>
                  <a:lnTo>
                    <a:pt x="268" y="48"/>
                  </a:lnTo>
                  <a:lnTo>
                    <a:pt x="257" y="28"/>
                  </a:lnTo>
                  <a:lnTo>
                    <a:pt x="246" y="19"/>
                  </a:lnTo>
                  <a:lnTo>
                    <a:pt x="246" y="10"/>
                  </a:lnTo>
                  <a:lnTo>
                    <a:pt x="246" y="0"/>
                  </a:lnTo>
                  <a:lnTo>
                    <a:pt x="225" y="10"/>
                  </a:lnTo>
                  <a:lnTo>
                    <a:pt x="215" y="10"/>
                  </a:lnTo>
                  <a:lnTo>
                    <a:pt x="203" y="0"/>
                  </a:lnTo>
                  <a:lnTo>
                    <a:pt x="203" y="10"/>
                  </a:lnTo>
                  <a:lnTo>
                    <a:pt x="193" y="10"/>
                  </a:lnTo>
                  <a:lnTo>
                    <a:pt x="182" y="10"/>
                  </a:lnTo>
                  <a:lnTo>
                    <a:pt x="171" y="10"/>
                  </a:lnTo>
                  <a:lnTo>
                    <a:pt x="182" y="19"/>
                  </a:lnTo>
                  <a:lnTo>
                    <a:pt x="171" y="28"/>
                  </a:lnTo>
                  <a:lnTo>
                    <a:pt x="160" y="39"/>
                  </a:lnTo>
                  <a:lnTo>
                    <a:pt x="160" y="28"/>
                  </a:lnTo>
                  <a:lnTo>
                    <a:pt x="150" y="19"/>
                  </a:lnTo>
                  <a:lnTo>
                    <a:pt x="139" y="19"/>
                  </a:lnTo>
                  <a:lnTo>
                    <a:pt x="128" y="19"/>
                  </a:lnTo>
                  <a:lnTo>
                    <a:pt x="118" y="10"/>
                  </a:lnTo>
                  <a:lnTo>
                    <a:pt x="108" y="28"/>
                  </a:lnTo>
                  <a:lnTo>
                    <a:pt x="96" y="19"/>
                  </a:lnTo>
                  <a:lnTo>
                    <a:pt x="87" y="28"/>
                  </a:lnTo>
                  <a:lnTo>
                    <a:pt x="75" y="39"/>
                  </a:lnTo>
                  <a:lnTo>
                    <a:pt x="87" y="48"/>
                  </a:lnTo>
                  <a:lnTo>
                    <a:pt x="87" y="57"/>
                  </a:lnTo>
                  <a:lnTo>
                    <a:pt x="96" y="48"/>
                  </a:lnTo>
                  <a:lnTo>
                    <a:pt x="96" y="57"/>
                  </a:lnTo>
                  <a:lnTo>
                    <a:pt x="87" y="67"/>
                  </a:lnTo>
                  <a:lnTo>
                    <a:pt x="75" y="67"/>
                  </a:lnTo>
                  <a:lnTo>
                    <a:pt x="75" y="77"/>
                  </a:lnTo>
                  <a:lnTo>
                    <a:pt x="87" y="77"/>
                  </a:lnTo>
                  <a:lnTo>
                    <a:pt x="87" y="67"/>
                  </a:lnTo>
                  <a:lnTo>
                    <a:pt x="108" y="67"/>
                  </a:lnTo>
                  <a:lnTo>
                    <a:pt x="108" y="77"/>
                  </a:lnTo>
                  <a:lnTo>
                    <a:pt x="96" y="87"/>
                  </a:lnTo>
                  <a:lnTo>
                    <a:pt x="96" y="96"/>
                  </a:lnTo>
                  <a:lnTo>
                    <a:pt x="87" y="105"/>
                  </a:lnTo>
                  <a:lnTo>
                    <a:pt x="96" y="105"/>
                  </a:lnTo>
                  <a:lnTo>
                    <a:pt x="96" y="116"/>
                  </a:lnTo>
                  <a:lnTo>
                    <a:pt x="87" y="125"/>
                  </a:lnTo>
                  <a:lnTo>
                    <a:pt x="75" y="116"/>
                  </a:lnTo>
                  <a:lnTo>
                    <a:pt x="65" y="125"/>
                  </a:lnTo>
                  <a:lnTo>
                    <a:pt x="65" y="144"/>
                  </a:lnTo>
                  <a:lnTo>
                    <a:pt x="87" y="144"/>
                  </a:lnTo>
                  <a:lnTo>
                    <a:pt x="96" y="144"/>
                  </a:lnTo>
                  <a:lnTo>
                    <a:pt x="96" y="135"/>
                  </a:lnTo>
                  <a:lnTo>
                    <a:pt x="118" y="144"/>
                  </a:lnTo>
                  <a:lnTo>
                    <a:pt x="128" y="144"/>
                  </a:lnTo>
                  <a:lnTo>
                    <a:pt x="128" y="153"/>
                  </a:lnTo>
                  <a:lnTo>
                    <a:pt x="128" y="164"/>
                  </a:lnTo>
                  <a:lnTo>
                    <a:pt x="128" y="175"/>
                  </a:lnTo>
                  <a:lnTo>
                    <a:pt x="139" y="175"/>
                  </a:lnTo>
                  <a:lnTo>
                    <a:pt x="150" y="175"/>
                  </a:lnTo>
                  <a:lnTo>
                    <a:pt x="160" y="175"/>
                  </a:lnTo>
                  <a:lnTo>
                    <a:pt x="171" y="183"/>
                  </a:lnTo>
                  <a:lnTo>
                    <a:pt x="182" y="183"/>
                  </a:lnTo>
                  <a:lnTo>
                    <a:pt x="193" y="194"/>
                  </a:lnTo>
                  <a:lnTo>
                    <a:pt x="203" y="202"/>
                  </a:lnTo>
                  <a:lnTo>
                    <a:pt x="203" y="194"/>
                  </a:lnTo>
                  <a:lnTo>
                    <a:pt x="215" y="194"/>
                  </a:lnTo>
                  <a:lnTo>
                    <a:pt x="225" y="194"/>
                  </a:lnTo>
                  <a:lnTo>
                    <a:pt x="225" y="202"/>
                  </a:lnTo>
                  <a:lnTo>
                    <a:pt x="235" y="202"/>
                  </a:lnTo>
                  <a:lnTo>
                    <a:pt x="246" y="202"/>
                  </a:lnTo>
                  <a:lnTo>
                    <a:pt x="257" y="212"/>
                  </a:lnTo>
                  <a:lnTo>
                    <a:pt x="246" y="221"/>
                  </a:lnTo>
                  <a:lnTo>
                    <a:pt x="246" y="232"/>
                  </a:lnTo>
                  <a:lnTo>
                    <a:pt x="246" y="240"/>
                  </a:lnTo>
                  <a:lnTo>
                    <a:pt x="257" y="240"/>
                  </a:lnTo>
                  <a:lnTo>
                    <a:pt x="268" y="251"/>
                  </a:lnTo>
                  <a:lnTo>
                    <a:pt x="268" y="260"/>
                  </a:lnTo>
                  <a:lnTo>
                    <a:pt x="257" y="260"/>
                  </a:lnTo>
                  <a:lnTo>
                    <a:pt x="257" y="269"/>
                  </a:lnTo>
                  <a:lnTo>
                    <a:pt x="246" y="269"/>
                  </a:lnTo>
                  <a:lnTo>
                    <a:pt x="235" y="269"/>
                  </a:lnTo>
                  <a:lnTo>
                    <a:pt x="235" y="280"/>
                  </a:lnTo>
                  <a:lnTo>
                    <a:pt x="225" y="280"/>
                  </a:lnTo>
                  <a:lnTo>
                    <a:pt x="215" y="280"/>
                  </a:lnTo>
                  <a:lnTo>
                    <a:pt x="215" y="289"/>
                  </a:lnTo>
                  <a:lnTo>
                    <a:pt x="203" y="289"/>
                  </a:lnTo>
                  <a:lnTo>
                    <a:pt x="193" y="300"/>
                  </a:lnTo>
                  <a:lnTo>
                    <a:pt x="193" y="308"/>
                  </a:lnTo>
                  <a:lnTo>
                    <a:pt x="182" y="319"/>
                  </a:lnTo>
                  <a:lnTo>
                    <a:pt x="182" y="326"/>
                  </a:lnTo>
                  <a:lnTo>
                    <a:pt x="171" y="337"/>
                  </a:lnTo>
                  <a:lnTo>
                    <a:pt x="171" y="347"/>
                  </a:lnTo>
                  <a:lnTo>
                    <a:pt x="171" y="357"/>
                  </a:lnTo>
                  <a:lnTo>
                    <a:pt x="171" y="367"/>
                  </a:lnTo>
                  <a:lnTo>
                    <a:pt x="171" y="376"/>
                  </a:lnTo>
                  <a:lnTo>
                    <a:pt x="160" y="376"/>
                  </a:lnTo>
                  <a:lnTo>
                    <a:pt x="150" y="376"/>
                  </a:lnTo>
                  <a:lnTo>
                    <a:pt x="150" y="386"/>
                  </a:lnTo>
                  <a:lnTo>
                    <a:pt x="128" y="405"/>
                  </a:lnTo>
                  <a:lnTo>
                    <a:pt x="128" y="415"/>
                  </a:lnTo>
                  <a:lnTo>
                    <a:pt x="118" y="425"/>
                  </a:lnTo>
                  <a:lnTo>
                    <a:pt x="118" y="433"/>
                  </a:lnTo>
                  <a:lnTo>
                    <a:pt x="108" y="433"/>
                  </a:lnTo>
                  <a:lnTo>
                    <a:pt x="87" y="425"/>
                  </a:lnTo>
                  <a:lnTo>
                    <a:pt x="87" y="444"/>
                  </a:lnTo>
                  <a:lnTo>
                    <a:pt x="87" y="453"/>
                  </a:lnTo>
                  <a:lnTo>
                    <a:pt x="87" y="463"/>
                  </a:lnTo>
                  <a:lnTo>
                    <a:pt x="96" y="473"/>
                  </a:lnTo>
                  <a:lnTo>
                    <a:pt x="96" y="482"/>
                  </a:lnTo>
                  <a:lnTo>
                    <a:pt x="96" y="492"/>
                  </a:lnTo>
                  <a:lnTo>
                    <a:pt x="87" y="501"/>
                  </a:lnTo>
                  <a:lnTo>
                    <a:pt x="75" y="511"/>
                  </a:lnTo>
                  <a:lnTo>
                    <a:pt x="75" y="521"/>
                  </a:lnTo>
                  <a:lnTo>
                    <a:pt x="65" y="521"/>
                  </a:lnTo>
                  <a:lnTo>
                    <a:pt x="53" y="530"/>
                  </a:lnTo>
                  <a:lnTo>
                    <a:pt x="53" y="540"/>
                  </a:lnTo>
                  <a:lnTo>
                    <a:pt x="44" y="549"/>
                  </a:lnTo>
                  <a:lnTo>
                    <a:pt x="53" y="560"/>
                  </a:lnTo>
                  <a:lnTo>
                    <a:pt x="65" y="560"/>
                  </a:lnTo>
                  <a:lnTo>
                    <a:pt x="65" y="569"/>
                  </a:lnTo>
                  <a:lnTo>
                    <a:pt x="65" y="578"/>
                  </a:lnTo>
                  <a:lnTo>
                    <a:pt x="53" y="578"/>
                  </a:lnTo>
                  <a:lnTo>
                    <a:pt x="44" y="588"/>
                  </a:lnTo>
                  <a:lnTo>
                    <a:pt x="32" y="588"/>
                  </a:lnTo>
                  <a:lnTo>
                    <a:pt x="22" y="588"/>
                  </a:lnTo>
                  <a:lnTo>
                    <a:pt x="22" y="598"/>
                  </a:lnTo>
                  <a:lnTo>
                    <a:pt x="10" y="598"/>
                  </a:lnTo>
                  <a:lnTo>
                    <a:pt x="10" y="608"/>
                  </a:lnTo>
                  <a:lnTo>
                    <a:pt x="0" y="617"/>
                  </a:lnTo>
                  <a:lnTo>
                    <a:pt x="0" y="635"/>
                  </a:lnTo>
                  <a:lnTo>
                    <a:pt x="0" y="655"/>
                  </a:lnTo>
                  <a:lnTo>
                    <a:pt x="10" y="655"/>
                  </a:lnTo>
                  <a:lnTo>
                    <a:pt x="22" y="655"/>
                  </a:lnTo>
                  <a:lnTo>
                    <a:pt x="32" y="666"/>
                  </a:lnTo>
                  <a:lnTo>
                    <a:pt x="44" y="674"/>
                  </a:lnTo>
                  <a:lnTo>
                    <a:pt x="53" y="684"/>
                  </a:lnTo>
                  <a:lnTo>
                    <a:pt x="53" y="694"/>
                  </a:lnTo>
                  <a:lnTo>
                    <a:pt x="75" y="705"/>
                  </a:lnTo>
                  <a:lnTo>
                    <a:pt x="87" y="713"/>
                  </a:lnTo>
                  <a:lnTo>
                    <a:pt x="87" y="723"/>
                  </a:lnTo>
                  <a:lnTo>
                    <a:pt x="75" y="733"/>
                  </a:lnTo>
                  <a:lnTo>
                    <a:pt x="87" y="733"/>
                  </a:lnTo>
                  <a:lnTo>
                    <a:pt x="96" y="733"/>
                  </a:lnTo>
                  <a:lnTo>
                    <a:pt x="87" y="753"/>
                  </a:lnTo>
                  <a:lnTo>
                    <a:pt x="87" y="762"/>
                  </a:lnTo>
                  <a:lnTo>
                    <a:pt x="65" y="762"/>
                  </a:lnTo>
                  <a:lnTo>
                    <a:pt x="75" y="772"/>
                  </a:lnTo>
                  <a:lnTo>
                    <a:pt x="75" y="792"/>
                  </a:lnTo>
                  <a:lnTo>
                    <a:pt x="87" y="801"/>
                  </a:lnTo>
                  <a:lnTo>
                    <a:pt x="96" y="801"/>
                  </a:lnTo>
                  <a:lnTo>
                    <a:pt x="108" y="810"/>
                  </a:lnTo>
                  <a:lnTo>
                    <a:pt x="118" y="828"/>
                  </a:lnTo>
                  <a:lnTo>
                    <a:pt x="128" y="819"/>
                  </a:lnTo>
                  <a:lnTo>
                    <a:pt x="128" y="810"/>
                  </a:lnTo>
                  <a:lnTo>
                    <a:pt x="150" y="801"/>
                  </a:lnTo>
                  <a:lnTo>
                    <a:pt x="171" y="801"/>
                  </a:lnTo>
                  <a:lnTo>
                    <a:pt x="182" y="792"/>
                  </a:lnTo>
                  <a:lnTo>
                    <a:pt x="193" y="792"/>
                  </a:lnTo>
                  <a:lnTo>
                    <a:pt x="215" y="801"/>
                  </a:lnTo>
                  <a:lnTo>
                    <a:pt x="225" y="801"/>
                  </a:lnTo>
                  <a:lnTo>
                    <a:pt x="235" y="781"/>
                  </a:lnTo>
                  <a:lnTo>
                    <a:pt x="257" y="781"/>
                  </a:lnTo>
                  <a:lnTo>
                    <a:pt x="278" y="792"/>
                  </a:lnTo>
                  <a:lnTo>
                    <a:pt x="288" y="801"/>
                  </a:lnTo>
                  <a:lnTo>
                    <a:pt x="311" y="801"/>
                  </a:lnTo>
                  <a:lnTo>
                    <a:pt x="321" y="819"/>
                  </a:lnTo>
                  <a:lnTo>
                    <a:pt x="343" y="819"/>
                  </a:lnTo>
                  <a:lnTo>
                    <a:pt x="375" y="819"/>
                  </a:lnTo>
                  <a:lnTo>
                    <a:pt x="386" y="819"/>
                  </a:lnTo>
                  <a:lnTo>
                    <a:pt x="408" y="828"/>
                  </a:lnTo>
                  <a:lnTo>
                    <a:pt x="418" y="819"/>
                  </a:lnTo>
                  <a:lnTo>
                    <a:pt x="439" y="819"/>
                  </a:lnTo>
                  <a:lnTo>
                    <a:pt x="451" y="828"/>
                  </a:lnTo>
                  <a:lnTo>
                    <a:pt x="461" y="828"/>
                  </a:lnTo>
                  <a:lnTo>
                    <a:pt x="461" y="839"/>
                  </a:lnTo>
                  <a:lnTo>
                    <a:pt x="471" y="839"/>
                  </a:lnTo>
                  <a:lnTo>
                    <a:pt x="482" y="828"/>
                  </a:lnTo>
                  <a:lnTo>
                    <a:pt x="482" y="819"/>
                  </a:lnTo>
                  <a:lnTo>
                    <a:pt x="482" y="810"/>
                  </a:lnTo>
                  <a:lnTo>
                    <a:pt x="503" y="801"/>
                  </a:lnTo>
                  <a:lnTo>
                    <a:pt x="503" y="792"/>
                  </a:lnTo>
                  <a:lnTo>
                    <a:pt x="526" y="792"/>
                  </a:lnTo>
                  <a:lnTo>
                    <a:pt x="536" y="781"/>
                  </a:lnTo>
                  <a:lnTo>
                    <a:pt x="557" y="781"/>
                  </a:lnTo>
                  <a:lnTo>
                    <a:pt x="568" y="781"/>
                  </a:lnTo>
                  <a:lnTo>
                    <a:pt x="589" y="792"/>
                  </a:lnTo>
                  <a:lnTo>
                    <a:pt x="600" y="781"/>
                  </a:lnTo>
                  <a:lnTo>
                    <a:pt x="621" y="772"/>
                  </a:lnTo>
                  <a:lnTo>
                    <a:pt x="621" y="753"/>
                  </a:lnTo>
                  <a:lnTo>
                    <a:pt x="632" y="744"/>
                  </a:lnTo>
                  <a:lnTo>
                    <a:pt x="642" y="744"/>
                  </a:lnTo>
                  <a:lnTo>
                    <a:pt x="654" y="733"/>
                  </a:lnTo>
                  <a:lnTo>
                    <a:pt x="654" y="723"/>
                  </a:lnTo>
                  <a:lnTo>
                    <a:pt x="675" y="713"/>
                  </a:lnTo>
                  <a:lnTo>
                    <a:pt x="684" y="713"/>
                  </a:lnTo>
                  <a:lnTo>
                    <a:pt x="707" y="713"/>
                  </a:lnTo>
                  <a:lnTo>
                    <a:pt x="727" y="694"/>
                  </a:lnTo>
                  <a:lnTo>
                    <a:pt x="717" y="684"/>
                  </a:lnTo>
                  <a:lnTo>
                    <a:pt x="717" y="674"/>
                  </a:lnTo>
                  <a:lnTo>
                    <a:pt x="707" y="666"/>
                  </a:lnTo>
                  <a:lnTo>
                    <a:pt x="707" y="655"/>
                  </a:lnTo>
                  <a:lnTo>
                    <a:pt x="707" y="646"/>
                  </a:lnTo>
                  <a:lnTo>
                    <a:pt x="707" y="627"/>
                  </a:lnTo>
                  <a:lnTo>
                    <a:pt x="707" y="608"/>
                  </a:lnTo>
                  <a:lnTo>
                    <a:pt x="717" y="598"/>
                  </a:lnTo>
                  <a:lnTo>
                    <a:pt x="727" y="588"/>
                  </a:lnTo>
                  <a:lnTo>
                    <a:pt x="749" y="578"/>
                  </a:lnTo>
                  <a:lnTo>
                    <a:pt x="770" y="560"/>
                  </a:lnTo>
                  <a:lnTo>
                    <a:pt x="782" y="560"/>
                  </a:lnTo>
                  <a:lnTo>
                    <a:pt x="793" y="549"/>
                  </a:lnTo>
                  <a:lnTo>
                    <a:pt x="815" y="530"/>
                  </a:lnTo>
                  <a:lnTo>
                    <a:pt x="824" y="521"/>
                  </a:lnTo>
                  <a:lnTo>
                    <a:pt x="847" y="511"/>
                  </a:lnTo>
                  <a:lnTo>
                    <a:pt x="857" y="511"/>
                  </a:lnTo>
                  <a:lnTo>
                    <a:pt x="847" y="511"/>
                  </a:lnTo>
                  <a:lnTo>
                    <a:pt x="847" y="501"/>
                  </a:lnTo>
                  <a:lnTo>
                    <a:pt x="857" y="501"/>
                  </a:lnTo>
                  <a:lnTo>
                    <a:pt x="857" y="492"/>
                  </a:lnTo>
                  <a:lnTo>
                    <a:pt x="868" y="482"/>
                  </a:lnTo>
                  <a:lnTo>
                    <a:pt x="878" y="482"/>
                  </a:lnTo>
                  <a:lnTo>
                    <a:pt x="899" y="482"/>
                  </a:lnTo>
                  <a:lnTo>
                    <a:pt x="920" y="482"/>
                  </a:lnTo>
                  <a:lnTo>
                    <a:pt x="942" y="482"/>
                  </a:lnTo>
                  <a:lnTo>
                    <a:pt x="953" y="482"/>
                  </a:lnTo>
                  <a:lnTo>
                    <a:pt x="963" y="482"/>
                  </a:lnTo>
                  <a:lnTo>
                    <a:pt x="975" y="482"/>
                  </a:lnTo>
                  <a:lnTo>
                    <a:pt x="995" y="473"/>
                  </a:lnTo>
                  <a:lnTo>
                    <a:pt x="1007" y="473"/>
                  </a:lnTo>
                  <a:lnTo>
                    <a:pt x="1017" y="463"/>
                  </a:lnTo>
                  <a:lnTo>
                    <a:pt x="1038" y="463"/>
                  </a:lnTo>
                  <a:lnTo>
                    <a:pt x="1050" y="463"/>
                  </a:lnTo>
                  <a:lnTo>
                    <a:pt x="1060" y="453"/>
                  </a:lnTo>
                  <a:lnTo>
                    <a:pt x="1071" y="453"/>
                  </a:lnTo>
                  <a:lnTo>
                    <a:pt x="1081" y="444"/>
                  </a:lnTo>
                  <a:lnTo>
                    <a:pt x="1093" y="433"/>
                  </a:lnTo>
                  <a:lnTo>
                    <a:pt x="1093" y="425"/>
                  </a:lnTo>
                  <a:lnTo>
                    <a:pt x="1103" y="415"/>
                  </a:lnTo>
                  <a:lnTo>
                    <a:pt x="1103" y="405"/>
                  </a:lnTo>
                  <a:lnTo>
                    <a:pt x="1103" y="386"/>
                  </a:lnTo>
                  <a:lnTo>
                    <a:pt x="1097" y="379"/>
                  </a:lnTo>
                  <a:lnTo>
                    <a:pt x="1093" y="386"/>
                  </a:lnTo>
                  <a:lnTo>
                    <a:pt x="1081" y="386"/>
                  </a:lnTo>
                  <a:lnTo>
                    <a:pt x="1071" y="376"/>
                  </a:lnTo>
                  <a:lnTo>
                    <a:pt x="1060" y="386"/>
                  </a:lnTo>
                  <a:lnTo>
                    <a:pt x="1050" y="376"/>
                  </a:lnTo>
                  <a:lnTo>
                    <a:pt x="1028" y="376"/>
                  </a:lnTo>
                  <a:lnTo>
                    <a:pt x="1017" y="376"/>
                  </a:lnTo>
                  <a:lnTo>
                    <a:pt x="1006" y="378"/>
                  </a:lnTo>
                  <a:lnTo>
                    <a:pt x="988" y="378"/>
                  </a:lnTo>
                  <a:lnTo>
                    <a:pt x="975" y="375"/>
                  </a:lnTo>
                  <a:lnTo>
                    <a:pt x="970" y="363"/>
                  </a:lnTo>
                  <a:lnTo>
                    <a:pt x="972" y="357"/>
                  </a:lnTo>
                  <a:lnTo>
                    <a:pt x="953" y="347"/>
                  </a:lnTo>
                  <a:lnTo>
                    <a:pt x="956" y="335"/>
                  </a:lnTo>
                  <a:lnTo>
                    <a:pt x="948" y="326"/>
                  </a:lnTo>
                  <a:lnTo>
                    <a:pt x="939" y="318"/>
                  </a:lnTo>
                  <a:lnTo>
                    <a:pt x="923" y="308"/>
                  </a:lnTo>
                  <a:lnTo>
                    <a:pt x="910" y="319"/>
                  </a:lnTo>
                  <a:lnTo>
                    <a:pt x="888" y="319"/>
                  </a:lnTo>
                  <a:lnTo>
                    <a:pt x="888" y="308"/>
                  </a:lnTo>
                  <a:lnTo>
                    <a:pt x="878" y="308"/>
                  </a:lnTo>
                  <a:lnTo>
                    <a:pt x="857" y="300"/>
                  </a:lnTo>
                  <a:lnTo>
                    <a:pt x="847" y="300"/>
                  </a:lnTo>
                  <a:lnTo>
                    <a:pt x="824" y="289"/>
                  </a:lnTo>
                  <a:lnTo>
                    <a:pt x="824" y="280"/>
                  </a:lnTo>
                  <a:lnTo>
                    <a:pt x="804" y="269"/>
                  </a:lnTo>
                  <a:lnTo>
                    <a:pt x="793" y="269"/>
                  </a:lnTo>
                  <a:lnTo>
                    <a:pt x="770" y="251"/>
                  </a:lnTo>
                  <a:lnTo>
                    <a:pt x="760" y="251"/>
                  </a:lnTo>
                  <a:lnTo>
                    <a:pt x="749" y="240"/>
                  </a:lnTo>
                  <a:lnTo>
                    <a:pt x="739" y="232"/>
                  </a:lnTo>
                  <a:lnTo>
                    <a:pt x="727" y="232"/>
                  </a:lnTo>
                  <a:lnTo>
                    <a:pt x="727" y="221"/>
                  </a:lnTo>
                  <a:lnTo>
                    <a:pt x="727" y="212"/>
                  </a:lnTo>
                  <a:lnTo>
                    <a:pt x="717" y="202"/>
                  </a:lnTo>
                  <a:lnTo>
                    <a:pt x="707" y="194"/>
                  </a:lnTo>
                  <a:lnTo>
                    <a:pt x="707" y="194"/>
                  </a:lnTo>
                  <a:lnTo>
                    <a:pt x="706" y="193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3" name="Freeform 23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1676400" y="4776788"/>
              <a:ext cx="550863" cy="646113"/>
            </a:xfrm>
            <a:custGeom>
              <a:avLst/>
              <a:gdLst>
                <a:gd name="T0" fmla="*/ 159 w 562"/>
                <a:gd name="T1" fmla="*/ 790 h 790"/>
                <a:gd name="T2" fmla="*/ 130 w 562"/>
                <a:gd name="T3" fmla="*/ 774 h 790"/>
                <a:gd name="T4" fmla="*/ 73 w 562"/>
                <a:gd name="T5" fmla="*/ 747 h 790"/>
                <a:gd name="T6" fmla="*/ 42 w 562"/>
                <a:gd name="T7" fmla="*/ 718 h 790"/>
                <a:gd name="T8" fmla="*/ 0 w 562"/>
                <a:gd name="T9" fmla="*/ 731 h 790"/>
                <a:gd name="T10" fmla="*/ 29 w 562"/>
                <a:gd name="T11" fmla="*/ 675 h 790"/>
                <a:gd name="T12" fmla="*/ 58 w 562"/>
                <a:gd name="T13" fmla="*/ 646 h 790"/>
                <a:gd name="T14" fmla="*/ 58 w 562"/>
                <a:gd name="T15" fmla="*/ 588 h 790"/>
                <a:gd name="T16" fmla="*/ 87 w 562"/>
                <a:gd name="T17" fmla="*/ 545 h 790"/>
                <a:gd name="T18" fmla="*/ 101 w 562"/>
                <a:gd name="T19" fmla="*/ 487 h 790"/>
                <a:gd name="T20" fmla="*/ 42 w 562"/>
                <a:gd name="T21" fmla="*/ 474 h 790"/>
                <a:gd name="T22" fmla="*/ 58 w 562"/>
                <a:gd name="T23" fmla="*/ 431 h 790"/>
                <a:gd name="T24" fmla="*/ 73 w 562"/>
                <a:gd name="T25" fmla="*/ 388 h 790"/>
                <a:gd name="T26" fmla="*/ 114 w 562"/>
                <a:gd name="T27" fmla="*/ 359 h 790"/>
                <a:gd name="T28" fmla="*/ 159 w 562"/>
                <a:gd name="T29" fmla="*/ 316 h 790"/>
                <a:gd name="T30" fmla="*/ 188 w 562"/>
                <a:gd name="T31" fmla="*/ 272 h 790"/>
                <a:gd name="T32" fmla="*/ 217 w 562"/>
                <a:gd name="T33" fmla="*/ 200 h 790"/>
                <a:gd name="T34" fmla="*/ 246 w 562"/>
                <a:gd name="T35" fmla="*/ 144 h 790"/>
                <a:gd name="T36" fmla="*/ 273 w 562"/>
                <a:gd name="T37" fmla="*/ 86 h 790"/>
                <a:gd name="T38" fmla="*/ 289 w 562"/>
                <a:gd name="T39" fmla="*/ 43 h 790"/>
                <a:gd name="T40" fmla="*/ 318 w 562"/>
                <a:gd name="T41" fmla="*/ 14 h 790"/>
                <a:gd name="T42" fmla="*/ 360 w 562"/>
                <a:gd name="T43" fmla="*/ 14 h 790"/>
                <a:gd name="T44" fmla="*/ 374 w 562"/>
                <a:gd name="T45" fmla="*/ 43 h 790"/>
                <a:gd name="T46" fmla="*/ 403 w 562"/>
                <a:gd name="T47" fmla="*/ 57 h 790"/>
                <a:gd name="T48" fmla="*/ 448 w 562"/>
                <a:gd name="T49" fmla="*/ 72 h 790"/>
                <a:gd name="T50" fmla="*/ 475 w 562"/>
                <a:gd name="T51" fmla="*/ 86 h 790"/>
                <a:gd name="T52" fmla="*/ 506 w 562"/>
                <a:gd name="T53" fmla="*/ 99 h 790"/>
                <a:gd name="T54" fmla="*/ 547 w 562"/>
                <a:gd name="T55" fmla="*/ 115 h 790"/>
                <a:gd name="T56" fmla="*/ 535 w 562"/>
                <a:gd name="T57" fmla="*/ 157 h 790"/>
                <a:gd name="T58" fmla="*/ 562 w 562"/>
                <a:gd name="T59" fmla="*/ 187 h 790"/>
                <a:gd name="T60" fmla="*/ 535 w 562"/>
                <a:gd name="T61" fmla="*/ 200 h 790"/>
                <a:gd name="T62" fmla="*/ 506 w 562"/>
                <a:gd name="T63" fmla="*/ 216 h 790"/>
                <a:gd name="T64" fmla="*/ 475 w 562"/>
                <a:gd name="T65" fmla="*/ 231 h 790"/>
                <a:gd name="T66" fmla="*/ 448 w 562"/>
                <a:gd name="T67" fmla="*/ 272 h 790"/>
                <a:gd name="T68" fmla="*/ 432 w 562"/>
                <a:gd name="T69" fmla="*/ 316 h 790"/>
                <a:gd name="T70" fmla="*/ 432 w 562"/>
                <a:gd name="T71" fmla="*/ 359 h 790"/>
                <a:gd name="T72" fmla="*/ 403 w 562"/>
                <a:gd name="T73" fmla="*/ 373 h 790"/>
                <a:gd name="T74" fmla="*/ 360 w 562"/>
                <a:gd name="T75" fmla="*/ 431 h 790"/>
                <a:gd name="T76" fmla="*/ 318 w 562"/>
                <a:gd name="T77" fmla="*/ 431 h 790"/>
                <a:gd name="T78" fmla="*/ 318 w 562"/>
                <a:gd name="T79" fmla="*/ 487 h 790"/>
                <a:gd name="T80" fmla="*/ 331 w 562"/>
                <a:gd name="T81" fmla="*/ 532 h 790"/>
                <a:gd name="T82" fmla="*/ 302 w 562"/>
                <a:gd name="T83" fmla="*/ 574 h 790"/>
                <a:gd name="T84" fmla="*/ 273 w 562"/>
                <a:gd name="T85" fmla="*/ 604 h 790"/>
                <a:gd name="T86" fmla="*/ 289 w 562"/>
                <a:gd name="T87" fmla="*/ 633 h 790"/>
                <a:gd name="T88" fmla="*/ 273 w 562"/>
                <a:gd name="T89" fmla="*/ 660 h 790"/>
                <a:gd name="T90" fmla="*/ 230 w 562"/>
                <a:gd name="T91" fmla="*/ 675 h 790"/>
                <a:gd name="T92" fmla="*/ 217 w 562"/>
                <a:gd name="T93" fmla="*/ 702 h 790"/>
                <a:gd name="T94" fmla="*/ 203 w 562"/>
                <a:gd name="T95" fmla="*/ 774 h 790"/>
                <a:gd name="T96" fmla="*/ 217 w 562"/>
                <a:gd name="T97" fmla="*/ 774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62" h="790">
                  <a:moveTo>
                    <a:pt x="217" y="774"/>
                  </a:moveTo>
                  <a:lnTo>
                    <a:pt x="172" y="790"/>
                  </a:lnTo>
                  <a:lnTo>
                    <a:pt x="159" y="790"/>
                  </a:lnTo>
                  <a:lnTo>
                    <a:pt x="159" y="774"/>
                  </a:lnTo>
                  <a:lnTo>
                    <a:pt x="145" y="790"/>
                  </a:lnTo>
                  <a:lnTo>
                    <a:pt x="130" y="774"/>
                  </a:lnTo>
                  <a:lnTo>
                    <a:pt x="101" y="761"/>
                  </a:lnTo>
                  <a:lnTo>
                    <a:pt x="87" y="747"/>
                  </a:lnTo>
                  <a:lnTo>
                    <a:pt x="73" y="747"/>
                  </a:lnTo>
                  <a:lnTo>
                    <a:pt x="58" y="747"/>
                  </a:lnTo>
                  <a:lnTo>
                    <a:pt x="58" y="731"/>
                  </a:lnTo>
                  <a:lnTo>
                    <a:pt x="42" y="718"/>
                  </a:lnTo>
                  <a:lnTo>
                    <a:pt x="29" y="731"/>
                  </a:lnTo>
                  <a:lnTo>
                    <a:pt x="13" y="731"/>
                  </a:lnTo>
                  <a:lnTo>
                    <a:pt x="0" y="731"/>
                  </a:lnTo>
                  <a:lnTo>
                    <a:pt x="0" y="718"/>
                  </a:lnTo>
                  <a:lnTo>
                    <a:pt x="13" y="702"/>
                  </a:lnTo>
                  <a:lnTo>
                    <a:pt x="29" y="675"/>
                  </a:lnTo>
                  <a:lnTo>
                    <a:pt x="29" y="660"/>
                  </a:lnTo>
                  <a:lnTo>
                    <a:pt x="42" y="646"/>
                  </a:lnTo>
                  <a:lnTo>
                    <a:pt x="58" y="646"/>
                  </a:lnTo>
                  <a:lnTo>
                    <a:pt x="58" y="633"/>
                  </a:lnTo>
                  <a:lnTo>
                    <a:pt x="73" y="604"/>
                  </a:lnTo>
                  <a:lnTo>
                    <a:pt x="58" y="588"/>
                  </a:lnTo>
                  <a:lnTo>
                    <a:pt x="73" y="574"/>
                  </a:lnTo>
                  <a:lnTo>
                    <a:pt x="73" y="559"/>
                  </a:lnTo>
                  <a:lnTo>
                    <a:pt x="87" y="545"/>
                  </a:lnTo>
                  <a:lnTo>
                    <a:pt x="101" y="532"/>
                  </a:lnTo>
                  <a:lnTo>
                    <a:pt x="101" y="516"/>
                  </a:lnTo>
                  <a:lnTo>
                    <a:pt x="101" y="487"/>
                  </a:lnTo>
                  <a:lnTo>
                    <a:pt x="87" y="487"/>
                  </a:lnTo>
                  <a:lnTo>
                    <a:pt x="73" y="474"/>
                  </a:lnTo>
                  <a:lnTo>
                    <a:pt x="42" y="474"/>
                  </a:lnTo>
                  <a:lnTo>
                    <a:pt x="42" y="460"/>
                  </a:lnTo>
                  <a:lnTo>
                    <a:pt x="42" y="444"/>
                  </a:lnTo>
                  <a:lnTo>
                    <a:pt x="58" y="431"/>
                  </a:lnTo>
                  <a:lnTo>
                    <a:pt x="73" y="417"/>
                  </a:lnTo>
                  <a:lnTo>
                    <a:pt x="73" y="402"/>
                  </a:lnTo>
                  <a:lnTo>
                    <a:pt x="73" y="388"/>
                  </a:lnTo>
                  <a:lnTo>
                    <a:pt x="73" y="373"/>
                  </a:lnTo>
                  <a:lnTo>
                    <a:pt x="87" y="359"/>
                  </a:lnTo>
                  <a:lnTo>
                    <a:pt x="114" y="359"/>
                  </a:lnTo>
                  <a:lnTo>
                    <a:pt x="130" y="359"/>
                  </a:lnTo>
                  <a:lnTo>
                    <a:pt x="145" y="330"/>
                  </a:lnTo>
                  <a:lnTo>
                    <a:pt x="159" y="316"/>
                  </a:lnTo>
                  <a:lnTo>
                    <a:pt x="159" y="301"/>
                  </a:lnTo>
                  <a:lnTo>
                    <a:pt x="172" y="287"/>
                  </a:lnTo>
                  <a:lnTo>
                    <a:pt x="188" y="272"/>
                  </a:lnTo>
                  <a:lnTo>
                    <a:pt x="203" y="245"/>
                  </a:lnTo>
                  <a:lnTo>
                    <a:pt x="217" y="231"/>
                  </a:lnTo>
                  <a:lnTo>
                    <a:pt x="217" y="200"/>
                  </a:lnTo>
                  <a:lnTo>
                    <a:pt x="230" y="187"/>
                  </a:lnTo>
                  <a:lnTo>
                    <a:pt x="246" y="173"/>
                  </a:lnTo>
                  <a:lnTo>
                    <a:pt x="246" y="144"/>
                  </a:lnTo>
                  <a:lnTo>
                    <a:pt x="260" y="128"/>
                  </a:lnTo>
                  <a:lnTo>
                    <a:pt x="273" y="115"/>
                  </a:lnTo>
                  <a:lnTo>
                    <a:pt x="273" y="86"/>
                  </a:lnTo>
                  <a:lnTo>
                    <a:pt x="273" y="72"/>
                  </a:lnTo>
                  <a:lnTo>
                    <a:pt x="289" y="57"/>
                  </a:lnTo>
                  <a:lnTo>
                    <a:pt x="289" y="43"/>
                  </a:lnTo>
                  <a:lnTo>
                    <a:pt x="289" y="28"/>
                  </a:lnTo>
                  <a:lnTo>
                    <a:pt x="289" y="14"/>
                  </a:lnTo>
                  <a:lnTo>
                    <a:pt x="318" y="14"/>
                  </a:lnTo>
                  <a:lnTo>
                    <a:pt x="331" y="14"/>
                  </a:lnTo>
                  <a:lnTo>
                    <a:pt x="331" y="0"/>
                  </a:lnTo>
                  <a:lnTo>
                    <a:pt x="360" y="14"/>
                  </a:lnTo>
                  <a:lnTo>
                    <a:pt x="374" y="14"/>
                  </a:lnTo>
                  <a:lnTo>
                    <a:pt x="374" y="28"/>
                  </a:lnTo>
                  <a:lnTo>
                    <a:pt x="374" y="43"/>
                  </a:lnTo>
                  <a:lnTo>
                    <a:pt x="374" y="57"/>
                  </a:lnTo>
                  <a:lnTo>
                    <a:pt x="390" y="57"/>
                  </a:lnTo>
                  <a:lnTo>
                    <a:pt x="403" y="57"/>
                  </a:lnTo>
                  <a:lnTo>
                    <a:pt x="419" y="57"/>
                  </a:lnTo>
                  <a:lnTo>
                    <a:pt x="432" y="72"/>
                  </a:lnTo>
                  <a:lnTo>
                    <a:pt x="448" y="72"/>
                  </a:lnTo>
                  <a:lnTo>
                    <a:pt x="461" y="86"/>
                  </a:lnTo>
                  <a:lnTo>
                    <a:pt x="475" y="99"/>
                  </a:lnTo>
                  <a:lnTo>
                    <a:pt x="475" y="86"/>
                  </a:lnTo>
                  <a:lnTo>
                    <a:pt x="490" y="86"/>
                  </a:lnTo>
                  <a:lnTo>
                    <a:pt x="506" y="86"/>
                  </a:lnTo>
                  <a:lnTo>
                    <a:pt x="506" y="99"/>
                  </a:lnTo>
                  <a:lnTo>
                    <a:pt x="519" y="99"/>
                  </a:lnTo>
                  <a:lnTo>
                    <a:pt x="535" y="99"/>
                  </a:lnTo>
                  <a:lnTo>
                    <a:pt x="547" y="115"/>
                  </a:lnTo>
                  <a:lnTo>
                    <a:pt x="535" y="128"/>
                  </a:lnTo>
                  <a:lnTo>
                    <a:pt x="535" y="144"/>
                  </a:lnTo>
                  <a:lnTo>
                    <a:pt x="535" y="157"/>
                  </a:lnTo>
                  <a:lnTo>
                    <a:pt x="547" y="157"/>
                  </a:lnTo>
                  <a:lnTo>
                    <a:pt x="562" y="173"/>
                  </a:lnTo>
                  <a:lnTo>
                    <a:pt x="562" y="187"/>
                  </a:lnTo>
                  <a:lnTo>
                    <a:pt x="547" y="187"/>
                  </a:lnTo>
                  <a:lnTo>
                    <a:pt x="547" y="200"/>
                  </a:lnTo>
                  <a:lnTo>
                    <a:pt x="535" y="200"/>
                  </a:lnTo>
                  <a:lnTo>
                    <a:pt x="519" y="200"/>
                  </a:lnTo>
                  <a:lnTo>
                    <a:pt x="519" y="216"/>
                  </a:lnTo>
                  <a:lnTo>
                    <a:pt x="506" y="216"/>
                  </a:lnTo>
                  <a:lnTo>
                    <a:pt x="490" y="216"/>
                  </a:lnTo>
                  <a:lnTo>
                    <a:pt x="490" y="231"/>
                  </a:lnTo>
                  <a:lnTo>
                    <a:pt x="475" y="231"/>
                  </a:lnTo>
                  <a:lnTo>
                    <a:pt x="461" y="245"/>
                  </a:lnTo>
                  <a:lnTo>
                    <a:pt x="461" y="258"/>
                  </a:lnTo>
                  <a:lnTo>
                    <a:pt x="448" y="272"/>
                  </a:lnTo>
                  <a:lnTo>
                    <a:pt x="448" y="287"/>
                  </a:lnTo>
                  <a:lnTo>
                    <a:pt x="432" y="301"/>
                  </a:lnTo>
                  <a:lnTo>
                    <a:pt x="432" y="316"/>
                  </a:lnTo>
                  <a:lnTo>
                    <a:pt x="432" y="330"/>
                  </a:lnTo>
                  <a:lnTo>
                    <a:pt x="432" y="346"/>
                  </a:lnTo>
                  <a:lnTo>
                    <a:pt x="432" y="359"/>
                  </a:lnTo>
                  <a:lnTo>
                    <a:pt x="419" y="359"/>
                  </a:lnTo>
                  <a:lnTo>
                    <a:pt x="403" y="359"/>
                  </a:lnTo>
                  <a:lnTo>
                    <a:pt x="403" y="373"/>
                  </a:lnTo>
                  <a:lnTo>
                    <a:pt x="374" y="402"/>
                  </a:lnTo>
                  <a:lnTo>
                    <a:pt x="374" y="417"/>
                  </a:lnTo>
                  <a:lnTo>
                    <a:pt x="360" y="431"/>
                  </a:lnTo>
                  <a:lnTo>
                    <a:pt x="360" y="444"/>
                  </a:lnTo>
                  <a:lnTo>
                    <a:pt x="347" y="444"/>
                  </a:lnTo>
                  <a:lnTo>
                    <a:pt x="318" y="431"/>
                  </a:lnTo>
                  <a:lnTo>
                    <a:pt x="318" y="460"/>
                  </a:lnTo>
                  <a:lnTo>
                    <a:pt x="318" y="474"/>
                  </a:lnTo>
                  <a:lnTo>
                    <a:pt x="318" y="487"/>
                  </a:lnTo>
                  <a:lnTo>
                    <a:pt x="331" y="503"/>
                  </a:lnTo>
                  <a:lnTo>
                    <a:pt x="331" y="516"/>
                  </a:lnTo>
                  <a:lnTo>
                    <a:pt x="331" y="532"/>
                  </a:lnTo>
                  <a:lnTo>
                    <a:pt x="318" y="545"/>
                  </a:lnTo>
                  <a:lnTo>
                    <a:pt x="302" y="559"/>
                  </a:lnTo>
                  <a:lnTo>
                    <a:pt x="302" y="574"/>
                  </a:lnTo>
                  <a:lnTo>
                    <a:pt x="289" y="574"/>
                  </a:lnTo>
                  <a:lnTo>
                    <a:pt x="273" y="588"/>
                  </a:lnTo>
                  <a:lnTo>
                    <a:pt x="273" y="604"/>
                  </a:lnTo>
                  <a:lnTo>
                    <a:pt x="260" y="617"/>
                  </a:lnTo>
                  <a:lnTo>
                    <a:pt x="273" y="633"/>
                  </a:lnTo>
                  <a:lnTo>
                    <a:pt x="289" y="633"/>
                  </a:lnTo>
                  <a:lnTo>
                    <a:pt x="289" y="646"/>
                  </a:lnTo>
                  <a:lnTo>
                    <a:pt x="289" y="660"/>
                  </a:lnTo>
                  <a:lnTo>
                    <a:pt x="273" y="660"/>
                  </a:lnTo>
                  <a:lnTo>
                    <a:pt x="260" y="675"/>
                  </a:lnTo>
                  <a:lnTo>
                    <a:pt x="246" y="675"/>
                  </a:lnTo>
                  <a:lnTo>
                    <a:pt x="230" y="675"/>
                  </a:lnTo>
                  <a:lnTo>
                    <a:pt x="230" y="689"/>
                  </a:lnTo>
                  <a:lnTo>
                    <a:pt x="217" y="689"/>
                  </a:lnTo>
                  <a:lnTo>
                    <a:pt x="217" y="702"/>
                  </a:lnTo>
                  <a:lnTo>
                    <a:pt x="203" y="718"/>
                  </a:lnTo>
                  <a:lnTo>
                    <a:pt x="203" y="747"/>
                  </a:lnTo>
                  <a:lnTo>
                    <a:pt x="203" y="774"/>
                  </a:lnTo>
                  <a:lnTo>
                    <a:pt x="217" y="774"/>
                  </a:lnTo>
                  <a:lnTo>
                    <a:pt x="217" y="774"/>
                  </a:lnTo>
                  <a:lnTo>
                    <a:pt x="217" y="774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4" name="Freeform 24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146425" y="5389563"/>
              <a:ext cx="127000" cy="69850"/>
            </a:xfrm>
            <a:custGeom>
              <a:avLst/>
              <a:gdLst>
                <a:gd name="T0" fmla="*/ 72 w 130"/>
                <a:gd name="T1" fmla="*/ 87 h 87"/>
                <a:gd name="T2" fmla="*/ 72 w 130"/>
                <a:gd name="T3" fmla="*/ 74 h 87"/>
                <a:gd name="T4" fmla="*/ 58 w 130"/>
                <a:gd name="T5" fmla="*/ 74 h 87"/>
                <a:gd name="T6" fmla="*/ 42 w 130"/>
                <a:gd name="T7" fmla="*/ 44 h 87"/>
                <a:gd name="T8" fmla="*/ 29 w 130"/>
                <a:gd name="T9" fmla="*/ 44 h 87"/>
                <a:gd name="T10" fmla="*/ 0 w 130"/>
                <a:gd name="T11" fmla="*/ 44 h 87"/>
                <a:gd name="T12" fmla="*/ 0 w 130"/>
                <a:gd name="T13" fmla="*/ 29 h 87"/>
                <a:gd name="T14" fmla="*/ 13 w 130"/>
                <a:gd name="T15" fmla="*/ 29 h 87"/>
                <a:gd name="T16" fmla="*/ 29 w 130"/>
                <a:gd name="T17" fmla="*/ 29 h 87"/>
                <a:gd name="T18" fmla="*/ 58 w 130"/>
                <a:gd name="T19" fmla="*/ 29 h 87"/>
                <a:gd name="T20" fmla="*/ 58 w 130"/>
                <a:gd name="T21" fmla="*/ 15 h 87"/>
                <a:gd name="T22" fmla="*/ 72 w 130"/>
                <a:gd name="T23" fmla="*/ 0 h 87"/>
                <a:gd name="T24" fmla="*/ 85 w 130"/>
                <a:gd name="T25" fmla="*/ 15 h 87"/>
                <a:gd name="T26" fmla="*/ 85 w 130"/>
                <a:gd name="T27" fmla="*/ 29 h 87"/>
                <a:gd name="T28" fmla="*/ 101 w 130"/>
                <a:gd name="T29" fmla="*/ 44 h 87"/>
                <a:gd name="T30" fmla="*/ 114 w 130"/>
                <a:gd name="T31" fmla="*/ 44 h 87"/>
                <a:gd name="T32" fmla="*/ 130 w 130"/>
                <a:gd name="T33" fmla="*/ 44 h 87"/>
                <a:gd name="T34" fmla="*/ 114 w 130"/>
                <a:gd name="T35" fmla="*/ 58 h 87"/>
                <a:gd name="T36" fmla="*/ 101 w 130"/>
                <a:gd name="T37" fmla="*/ 58 h 87"/>
                <a:gd name="T38" fmla="*/ 101 w 130"/>
                <a:gd name="T39" fmla="*/ 74 h 87"/>
                <a:gd name="T40" fmla="*/ 85 w 130"/>
                <a:gd name="T41" fmla="*/ 87 h 87"/>
                <a:gd name="T42" fmla="*/ 72 w 130"/>
                <a:gd name="T43" fmla="*/ 87 h 87"/>
                <a:gd name="T44" fmla="*/ 72 w 130"/>
                <a:gd name="T45" fmla="*/ 87 h 87"/>
                <a:gd name="T46" fmla="*/ 72 w 130"/>
                <a:gd name="T4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0" h="87">
                  <a:moveTo>
                    <a:pt x="72" y="87"/>
                  </a:moveTo>
                  <a:lnTo>
                    <a:pt x="72" y="74"/>
                  </a:lnTo>
                  <a:lnTo>
                    <a:pt x="58" y="74"/>
                  </a:lnTo>
                  <a:lnTo>
                    <a:pt x="42" y="44"/>
                  </a:lnTo>
                  <a:lnTo>
                    <a:pt x="29" y="44"/>
                  </a:lnTo>
                  <a:lnTo>
                    <a:pt x="0" y="44"/>
                  </a:lnTo>
                  <a:lnTo>
                    <a:pt x="0" y="29"/>
                  </a:lnTo>
                  <a:lnTo>
                    <a:pt x="13" y="29"/>
                  </a:lnTo>
                  <a:lnTo>
                    <a:pt x="29" y="29"/>
                  </a:lnTo>
                  <a:lnTo>
                    <a:pt x="58" y="29"/>
                  </a:lnTo>
                  <a:lnTo>
                    <a:pt x="58" y="15"/>
                  </a:lnTo>
                  <a:lnTo>
                    <a:pt x="72" y="0"/>
                  </a:lnTo>
                  <a:lnTo>
                    <a:pt x="85" y="15"/>
                  </a:lnTo>
                  <a:lnTo>
                    <a:pt x="85" y="29"/>
                  </a:lnTo>
                  <a:lnTo>
                    <a:pt x="101" y="44"/>
                  </a:lnTo>
                  <a:lnTo>
                    <a:pt x="114" y="44"/>
                  </a:lnTo>
                  <a:lnTo>
                    <a:pt x="130" y="44"/>
                  </a:lnTo>
                  <a:lnTo>
                    <a:pt x="114" y="58"/>
                  </a:lnTo>
                  <a:lnTo>
                    <a:pt x="101" y="58"/>
                  </a:lnTo>
                  <a:lnTo>
                    <a:pt x="101" y="74"/>
                  </a:lnTo>
                  <a:lnTo>
                    <a:pt x="85" y="87"/>
                  </a:lnTo>
                  <a:lnTo>
                    <a:pt x="72" y="87"/>
                  </a:lnTo>
                  <a:lnTo>
                    <a:pt x="72" y="87"/>
                  </a:lnTo>
                  <a:lnTo>
                    <a:pt x="72" y="87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5" name="Freeform 25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3328988" y="5389563"/>
              <a:ext cx="60325" cy="38100"/>
            </a:xfrm>
            <a:custGeom>
              <a:avLst/>
              <a:gdLst>
                <a:gd name="T0" fmla="*/ 45 w 58"/>
                <a:gd name="T1" fmla="*/ 44 h 44"/>
                <a:gd name="T2" fmla="*/ 29 w 58"/>
                <a:gd name="T3" fmla="*/ 29 h 44"/>
                <a:gd name="T4" fmla="*/ 15 w 58"/>
                <a:gd name="T5" fmla="*/ 29 h 44"/>
                <a:gd name="T6" fmla="*/ 0 w 58"/>
                <a:gd name="T7" fmla="*/ 15 h 44"/>
                <a:gd name="T8" fmla="*/ 0 w 58"/>
                <a:gd name="T9" fmla="*/ 0 h 44"/>
                <a:gd name="T10" fmla="*/ 15 w 58"/>
                <a:gd name="T11" fmla="*/ 0 h 44"/>
                <a:gd name="T12" fmla="*/ 29 w 58"/>
                <a:gd name="T13" fmla="*/ 15 h 44"/>
                <a:gd name="T14" fmla="*/ 45 w 58"/>
                <a:gd name="T15" fmla="*/ 15 h 44"/>
                <a:gd name="T16" fmla="*/ 58 w 58"/>
                <a:gd name="T17" fmla="*/ 15 h 44"/>
                <a:gd name="T18" fmla="*/ 58 w 58"/>
                <a:gd name="T19" fmla="*/ 29 h 44"/>
                <a:gd name="T20" fmla="*/ 58 w 58"/>
                <a:gd name="T21" fmla="*/ 44 h 44"/>
                <a:gd name="T22" fmla="*/ 45 w 58"/>
                <a:gd name="T23" fmla="*/ 44 h 44"/>
                <a:gd name="T24" fmla="*/ 45 w 58"/>
                <a:gd name="T25" fmla="*/ 44 h 44"/>
                <a:gd name="T26" fmla="*/ 45 w 58"/>
                <a:gd name="T2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" h="44">
                  <a:moveTo>
                    <a:pt x="45" y="44"/>
                  </a:moveTo>
                  <a:lnTo>
                    <a:pt x="29" y="29"/>
                  </a:lnTo>
                  <a:lnTo>
                    <a:pt x="15" y="29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29" y="15"/>
                  </a:lnTo>
                  <a:lnTo>
                    <a:pt x="45" y="15"/>
                  </a:lnTo>
                  <a:lnTo>
                    <a:pt x="58" y="15"/>
                  </a:lnTo>
                  <a:lnTo>
                    <a:pt x="58" y="29"/>
                  </a:lnTo>
                  <a:lnTo>
                    <a:pt x="58" y="44"/>
                  </a:lnTo>
                  <a:lnTo>
                    <a:pt x="45" y="44"/>
                  </a:lnTo>
                  <a:lnTo>
                    <a:pt x="45" y="44"/>
                  </a:lnTo>
                  <a:lnTo>
                    <a:pt x="45" y="44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6" name="Freeform 26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2960688" y="5459413"/>
              <a:ext cx="58738" cy="36513"/>
            </a:xfrm>
            <a:custGeom>
              <a:avLst/>
              <a:gdLst>
                <a:gd name="T0" fmla="*/ 29 w 58"/>
                <a:gd name="T1" fmla="*/ 29 h 43"/>
                <a:gd name="T2" fmla="*/ 42 w 58"/>
                <a:gd name="T3" fmla="*/ 29 h 43"/>
                <a:gd name="T4" fmla="*/ 42 w 58"/>
                <a:gd name="T5" fmla="*/ 14 h 43"/>
                <a:gd name="T6" fmla="*/ 58 w 58"/>
                <a:gd name="T7" fmla="*/ 0 h 43"/>
                <a:gd name="T8" fmla="*/ 42 w 58"/>
                <a:gd name="T9" fmla="*/ 0 h 43"/>
                <a:gd name="T10" fmla="*/ 29 w 58"/>
                <a:gd name="T11" fmla="*/ 0 h 43"/>
                <a:gd name="T12" fmla="*/ 29 w 58"/>
                <a:gd name="T13" fmla="*/ 14 h 43"/>
                <a:gd name="T14" fmla="*/ 0 w 58"/>
                <a:gd name="T15" fmla="*/ 14 h 43"/>
                <a:gd name="T16" fmla="*/ 0 w 58"/>
                <a:gd name="T17" fmla="*/ 29 h 43"/>
                <a:gd name="T18" fmla="*/ 0 w 58"/>
                <a:gd name="T19" fmla="*/ 43 h 43"/>
                <a:gd name="T20" fmla="*/ 29 w 58"/>
                <a:gd name="T21" fmla="*/ 29 h 43"/>
                <a:gd name="T22" fmla="*/ 29 w 58"/>
                <a:gd name="T23" fmla="*/ 29 h 43"/>
                <a:gd name="T24" fmla="*/ 29 w 58"/>
                <a:gd name="T25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43">
                  <a:moveTo>
                    <a:pt x="29" y="29"/>
                  </a:moveTo>
                  <a:lnTo>
                    <a:pt x="42" y="29"/>
                  </a:lnTo>
                  <a:lnTo>
                    <a:pt x="42" y="14"/>
                  </a:lnTo>
                  <a:lnTo>
                    <a:pt x="58" y="0"/>
                  </a:lnTo>
                  <a:lnTo>
                    <a:pt x="42" y="0"/>
                  </a:lnTo>
                  <a:lnTo>
                    <a:pt x="29" y="0"/>
                  </a:lnTo>
                  <a:lnTo>
                    <a:pt x="29" y="14"/>
                  </a:lnTo>
                  <a:lnTo>
                    <a:pt x="0" y="14"/>
                  </a:lnTo>
                  <a:lnTo>
                    <a:pt x="0" y="29"/>
                  </a:lnTo>
                  <a:lnTo>
                    <a:pt x="0" y="43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7" name="Freeform 27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395538" y="3255963"/>
              <a:ext cx="522288" cy="412750"/>
            </a:xfrm>
            <a:custGeom>
              <a:avLst/>
              <a:gdLst>
                <a:gd name="T0" fmla="*/ 519 w 533"/>
                <a:gd name="T1" fmla="*/ 244 h 504"/>
                <a:gd name="T2" fmla="*/ 504 w 533"/>
                <a:gd name="T3" fmla="*/ 273 h 504"/>
                <a:gd name="T4" fmla="*/ 490 w 533"/>
                <a:gd name="T5" fmla="*/ 331 h 504"/>
                <a:gd name="T6" fmla="*/ 477 w 533"/>
                <a:gd name="T7" fmla="*/ 374 h 504"/>
                <a:gd name="T8" fmla="*/ 477 w 533"/>
                <a:gd name="T9" fmla="*/ 417 h 504"/>
                <a:gd name="T10" fmla="*/ 448 w 533"/>
                <a:gd name="T11" fmla="*/ 446 h 504"/>
                <a:gd name="T12" fmla="*/ 419 w 533"/>
                <a:gd name="T13" fmla="*/ 475 h 504"/>
                <a:gd name="T14" fmla="*/ 347 w 533"/>
                <a:gd name="T15" fmla="*/ 475 h 504"/>
                <a:gd name="T16" fmla="*/ 273 w 533"/>
                <a:gd name="T17" fmla="*/ 475 h 504"/>
                <a:gd name="T18" fmla="*/ 244 w 533"/>
                <a:gd name="T19" fmla="*/ 475 h 504"/>
                <a:gd name="T20" fmla="*/ 215 w 533"/>
                <a:gd name="T21" fmla="*/ 504 h 504"/>
                <a:gd name="T22" fmla="*/ 159 w 533"/>
                <a:gd name="T23" fmla="*/ 504 h 504"/>
                <a:gd name="T24" fmla="*/ 101 w 533"/>
                <a:gd name="T25" fmla="*/ 488 h 504"/>
                <a:gd name="T26" fmla="*/ 71 w 533"/>
                <a:gd name="T27" fmla="*/ 475 h 504"/>
                <a:gd name="T28" fmla="*/ 71 w 533"/>
                <a:gd name="T29" fmla="*/ 475 h 504"/>
                <a:gd name="T30" fmla="*/ 44 w 533"/>
                <a:gd name="T31" fmla="*/ 461 h 504"/>
                <a:gd name="T32" fmla="*/ 44 w 533"/>
                <a:gd name="T33" fmla="*/ 432 h 504"/>
                <a:gd name="T34" fmla="*/ 58 w 533"/>
                <a:gd name="T35" fmla="*/ 432 h 504"/>
                <a:gd name="T36" fmla="*/ 13 w 533"/>
                <a:gd name="T37" fmla="*/ 432 h 504"/>
                <a:gd name="T38" fmla="*/ 29 w 533"/>
                <a:gd name="T39" fmla="*/ 387 h 504"/>
                <a:gd name="T40" fmla="*/ 71 w 533"/>
                <a:gd name="T41" fmla="*/ 387 h 504"/>
                <a:gd name="T42" fmla="*/ 13 w 533"/>
                <a:gd name="T43" fmla="*/ 374 h 504"/>
                <a:gd name="T44" fmla="*/ 44 w 533"/>
                <a:gd name="T45" fmla="*/ 345 h 504"/>
                <a:gd name="T46" fmla="*/ 114 w 533"/>
                <a:gd name="T47" fmla="*/ 331 h 504"/>
                <a:gd name="T48" fmla="*/ 174 w 533"/>
                <a:gd name="T49" fmla="*/ 345 h 504"/>
                <a:gd name="T50" fmla="*/ 159 w 533"/>
                <a:gd name="T51" fmla="*/ 331 h 504"/>
                <a:gd name="T52" fmla="*/ 101 w 533"/>
                <a:gd name="T53" fmla="*/ 331 h 504"/>
                <a:gd name="T54" fmla="*/ 143 w 533"/>
                <a:gd name="T55" fmla="*/ 289 h 504"/>
                <a:gd name="T56" fmla="*/ 215 w 533"/>
                <a:gd name="T57" fmla="*/ 259 h 504"/>
                <a:gd name="T58" fmla="*/ 174 w 533"/>
                <a:gd name="T59" fmla="*/ 244 h 504"/>
                <a:gd name="T60" fmla="*/ 143 w 533"/>
                <a:gd name="T61" fmla="*/ 230 h 504"/>
                <a:gd name="T62" fmla="*/ 143 w 533"/>
                <a:gd name="T63" fmla="*/ 174 h 504"/>
                <a:gd name="T64" fmla="*/ 188 w 533"/>
                <a:gd name="T65" fmla="*/ 143 h 504"/>
                <a:gd name="T66" fmla="*/ 188 w 533"/>
                <a:gd name="T67" fmla="*/ 130 h 504"/>
                <a:gd name="T68" fmla="*/ 188 w 533"/>
                <a:gd name="T69" fmla="*/ 102 h 504"/>
                <a:gd name="T70" fmla="*/ 244 w 533"/>
                <a:gd name="T71" fmla="*/ 87 h 504"/>
                <a:gd name="T72" fmla="*/ 289 w 533"/>
                <a:gd name="T73" fmla="*/ 130 h 504"/>
                <a:gd name="T74" fmla="*/ 331 w 533"/>
                <a:gd name="T75" fmla="*/ 116 h 504"/>
                <a:gd name="T76" fmla="*/ 374 w 533"/>
                <a:gd name="T77" fmla="*/ 87 h 504"/>
                <a:gd name="T78" fmla="*/ 318 w 533"/>
                <a:gd name="T79" fmla="*/ 58 h 504"/>
                <a:gd name="T80" fmla="*/ 390 w 533"/>
                <a:gd name="T81" fmla="*/ 29 h 504"/>
                <a:gd name="T82" fmla="*/ 419 w 533"/>
                <a:gd name="T83" fmla="*/ 15 h 504"/>
                <a:gd name="T84" fmla="*/ 477 w 533"/>
                <a:gd name="T85" fmla="*/ 15 h 504"/>
                <a:gd name="T86" fmla="*/ 504 w 533"/>
                <a:gd name="T87" fmla="*/ 0 h 504"/>
                <a:gd name="T88" fmla="*/ 519 w 533"/>
                <a:gd name="T89" fmla="*/ 44 h 504"/>
                <a:gd name="T90" fmla="*/ 504 w 533"/>
                <a:gd name="T91" fmla="*/ 58 h 504"/>
                <a:gd name="T92" fmla="*/ 448 w 533"/>
                <a:gd name="T93" fmla="*/ 71 h 504"/>
                <a:gd name="T94" fmla="*/ 419 w 533"/>
                <a:gd name="T95" fmla="*/ 116 h 504"/>
                <a:gd name="T96" fmla="*/ 390 w 533"/>
                <a:gd name="T97" fmla="*/ 116 h 504"/>
                <a:gd name="T98" fmla="*/ 403 w 533"/>
                <a:gd name="T99" fmla="*/ 159 h 504"/>
                <a:gd name="T100" fmla="*/ 448 w 533"/>
                <a:gd name="T101" fmla="*/ 174 h 504"/>
                <a:gd name="T102" fmla="*/ 504 w 533"/>
                <a:gd name="T103" fmla="*/ 188 h 504"/>
                <a:gd name="T104" fmla="*/ 533 w 533"/>
                <a:gd name="T105" fmla="*/ 24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33" h="504">
                  <a:moveTo>
                    <a:pt x="533" y="244"/>
                  </a:moveTo>
                  <a:lnTo>
                    <a:pt x="519" y="259"/>
                  </a:lnTo>
                  <a:lnTo>
                    <a:pt x="519" y="244"/>
                  </a:lnTo>
                  <a:lnTo>
                    <a:pt x="504" y="244"/>
                  </a:lnTo>
                  <a:lnTo>
                    <a:pt x="519" y="259"/>
                  </a:lnTo>
                  <a:lnTo>
                    <a:pt x="504" y="273"/>
                  </a:lnTo>
                  <a:lnTo>
                    <a:pt x="504" y="289"/>
                  </a:lnTo>
                  <a:lnTo>
                    <a:pt x="504" y="316"/>
                  </a:lnTo>
                  <a:lnTo>
                    <a:pt x="490" y="331"/>
                  </a:lnTo>
                  <a:lnTo>
                    <a:pt x="490" y="345"/>
                  </a:lnTo>
                  <a:lnTo>
                    <a:pt x="490" y="360"/>
                  </a:lnTo>
                  <a:lnTo>
                    <a:pt x="477" y="374"/>
                  </a:lnTo>
                  <a:lnTo>
                    <a:pt x="477" y="387"/>
                  </a:lnTo>
                  <a:lnTo>
                    <a:pt x="477" y="403"/>
                  </a:lnTo>
                  <a:lnTo>
                    <a:pt x="477" y="417"/>
                  </a:lnTo>
                  <a:lnTo>
                    <a:pt x="461" y="417"/>
                  </a:lnTo>
                  <a:lnTo>
                    <a:pt x="461" y="432"/>
                  </a:lnTo>
                  <a:lnTo>
                    <a:pt x="448" y="446"/>
                  </a:lnTo>
                  <a:lnTo>
                    <a:pt x="432" y="446"/>
                  </a:lnTo>
                  <a:lnTo>
                    <a:pt x="432" y="461"/>
                  </a:lnTo>
                  <a:lnTo>
                    <a:pt x="419" y="475"/>
                  </a:lnTo>
                  <a:lnTo>
                    <a:pt x="390" y="488"/>
                  </a:lnTo>
                  <a:lnTo>
                    <a:pt x="374" y="475"/>
                  </a:lnTo>
                  <a:lnTo>
                    <a:pt x="347" y="475"/>
                  </a:lnTo>
                  <a:lnTo>
                    <a:pt x="318" y="475"/>
                  </a:lnTo>
                  <a:lnTo>
                    <a:pt x="289" y="475"/>
                  </a:lnTo>
                  <a:lnTo>
                    <a:pt x="273" y="475"/>
                  </a:lnTo>
                  <a:lnTo>
                    <a:pt x="260" y="488"/>
                  </a:lnTo>
                  <a:lnTo>
                    <a:pt x="244" y="488"/>
                  </a:lnTo>
                  <a:lnTo>
                    <a:pt x="244" y="475"/>
                  </a:lnTo>
                  <a:lnTo>
                    <a:pt x="231" y="488"/>
                  </a:lnTo>
                  <a:lnTo>
                    <a:pt x="215" y="488"/>
                  </a:lnTo>
                  <a:lnTo>
                    <a:pt x="215" y="504"/>
                  </a:lnTo>
                  <a:lnTo>
                    <a:pt x="188" y="504"/>
                  </a:lnTo>
                  <a:lnTo>
                    <a:pt x="174" y="488"/>
                  </a:lnTo>
                  <a:lnTo>
                    <a:pt x="159" y="504"/>
                  </a:lnTo>
                  <a:lnTo>
                    <a:pt x="130" y="504"/>
                  </a:lnTo>
                  <a:lnTo>
                    <a:pt x="114" y="488"/>
                  </a:lnTo>
                  <a:lnTo>
                    <a:pt x="101" y="488"/>
                  </a:lnTo>
                  <a:lnTo>
                    <a:pt x="71" y="504"/>
                  </a:lnTo>
                  <a:lnTo>
                    <a:pt x="71" y="488"/>
                  </a:lnTo>
                  <a:lnTo>
                    <a:pt x="71" y="475"/>
                  </a:lnTo>
                  <a:lnTo>
                    <a:pt x="29" y="488"/>
                  </a:lnTo>
                  <a:lnTo>
                    <a:pt x="44" y="488"/>
                  </a:lnTo>
                  <a:lnTo>
                    <a:pt x="71" y="475"/>
                  </a:lnTo>
                  <a:lnTo>
                    <a:pt x="29" y="475"/>
                  </a:lnTo>
                  <a:lnTo>
                    <a:pt x="58" y="461"/>
                  </a:lnTo>
                  <a:lnTo>
                    <a:pt x="44" y="461"/>
                  </a:lnTo>
                  <a:lnTo>
                    <a:pt x="29" y="461"/>
                  </a:lnTo>
                  <a:lnTo>
                    <a:pt x="29" y="446"/>
                  </a:lnTo>
                  <a:lnTo>
                    <a:pt x="44" y="432"/>
                  </a:lnTo>
                  <a:lnTo>
                    <a:pt x="58" y="432"/>
                  </a:lnTo>
                  <a:lnTo>
                    <a:pt x="71" y="432"/>
                  </a:lnTo>
                  <a:lnTo>
                    <a:pt x="58" y="432"/>
                  </a:lnTo>
                  <a:lnTo>
                    <a:pt x="44" y="432"/>
                  </a:lnTo>
                  <a:lnTo>
                    <a:pt x="29" y="417"/>
                  </a:lnTo>
                  <a:lnTo>
                    <a:pt x="13" y="432"/>
                  </a:lnTo>
                  <a:lnTo>
                    <a:pt x="0" y="417"/>
                  </a:lnTo>
                  <a:lnTo>
                    <a:pt x="13" y="403"/>
                  </a:lnTo>
                  <a:lnTo>
                    <a:pt x="29" y="387"/>
                  </a:lnTo>
                  <a:lnTo>
                    <a:pt x="44" y="387"/>
                  </a:lnTo>
                  <a:lnTo>
                    <a:pt x="58" y="387"/>
                  </a:lnTo>
                  <a:lnTo>
                    <a:pt x="71" y="387"/>
                  </a:lnTo>
                  <a:lnTo>
                    <a:pt x="58" y="374"/>
                  </a:lnTo>
                  <a:lnTo>
                    <a:pt x="29" y="374"/>
                  </a:lnTo>
                  <a:lnTo>
                    <a:pt x="13" y="374"/>
                  </a:lnTo>
                  <a:lnTo>
                    <a:pt x="13" y="360"/>
                  </a:lnTo>
                  <a:lnTo>
                    <a:pt x="29" y="345"/>
                  </a:lnTo>
                  <a:lnTo>
                    <a:pt x="44" y="345"/>
                  </a:lnTo>
                  <a:lnTo>
                    <a:pt x="85" y="345"/>
                  </a:lnTo>
                  <a:lnTo>
                    <a:pt x="85" y="331"/>
                  </a:lnTo>
                  <a:lnTo>
                    <a:pt x="114" y="331"/>
                  </a:lnTo>
                  <a:lnTo>
                    <a:pt x="130" y="331"/>
                  </a:lnTo>
                  <a:lnTo>
                    <a:pt x="143" y="345"/>
                  </a:lnTo>
                  <a:lnTo>
                    <a:pt x="174" y="345"/>
                  </a:lnTo>
                  <a:lnTo>
                    <a:pt x="188" y="345"/>
                  </a:lnTo>
                  <a:lnTo>
                    <a:pt x="174" y="331"/>
                  </a:lnTo>
                  <a:lnTo>
                    <a:pt x="159" y="331"/>
                  </a:lnTo>
                  <a:lnTo>
                    <a:pt x="143" y="331"/>
                  </a:lnTo>
                  <a:lnTo>
                    <a:pt x="130" y="316"/>
                  </a:lnTo>
                  <a:lnTo>
                    <a:pt x="101" y="331"/>
                  </a:lnTo>
                  <a:lnTo>
                    <a:pt x="85" y="316"/>
                  </a:lnTo>
                  <a:lnTo>
                    <a:pt x="114" y="316"/>
                  </a:lnTo>
                  <a:lnTo>
                    <a:pt x="143" y="289"/>
                  </a:lnTo>
                  <a:lnTo>
                    <a:pt x="188" y="273"/>
                  </a:lnTo>
                  <a:lnTo>
                    <a:pt x="201" y="273"/>
                  </a:lnTo>
                  <a:lnTo>
                    <a:pt x="215" y="259"/>
                  </a:lnTo>
                  <a:lnTo>
                    <a:pt x="215" y="244"/>
                  </a:lnTo>
                  <a:lnTo>
                    <a:pt x="201" y="244"/>
                  </a:lnTo>
                  <a:lnTo>
                    <a:pt x="174" y="244"/>
                  </a:lnTo>
                  <a:lnTo>
                    <a:pt x="159" y="259"/>
                  </a:lnTo>
                  <a:lnTo>
                    <a:pt x="159" y="230"/>
                  </a:lnTo>
                  <a:lnTo>
                    <a:pt x="143" y="230"/>
                  </a:lnTo>
                  <a:lnTo>
                    <a:pt x="143" y="217"/>
                  </a:lnTo>
                  <a:lnTo>
                    <a:pt x="130" y="188"/>
                  </a:lnTo>
                  <a:lnTo>
                    <a:pt x="143" y="174"/>
                  </a:lnTo>
                  <a:lnTo>
                    <a:pt x="159" y="174"/>
                  </a:lnTo>
                  <a:lnTo>
                    <a:pt x="174" y="159"/>
                  </a:lnTo>
                  <a:lnTo>
                    <a:pt x="188" y="143"/>
                  </a:lnTo>
                  <a:lnTo>
                    <a:pt x="201" y="143"/>
                  </a:lnTo>
                  <a:lnTo>
                    <a:pt x="188" y="143"/>
                  </a:lnTo>
                  <a:lnTo>
                    <a:pt x="188" y="130"/>
                  </a:lnTo>
                  <a:lnTo>
                    <a:pt x="188" y="116"/>
                  </a:lnTo>
                  <a:lnTo>
                    <a:pt x="174" y="102"/>
                  </a:lnTo>
                  <a:lnTo>
                    <a:pt x="188" y="102"/>
                  </a:lnTo>
                  <a:lnTo>
                    <a:pt x="201" y="71"/>
                  </a:lnTo>
                  <a:lnTo>
                    <a:pt x="231" y="71"/>
                  </a:lnTo>
                  <a:lnTo>
                    <a:pt x="244" y="87"/>
                  </a:lnTo>
                  <a:lnTo>
                    <a:pt x="260" y="102"/>
                  </a:lnTo>
                  <a:lnTo>
                    <a:pt x="260" y="116"/>
                  </a:lnTo>
                  <a:lnTo>
                    <a:pt x="289" y="130"/>
                  </a:lnTo>
                  <a:lnTo>
                    <a:pt x="302" y="143"/>
                  </a:lnTo>
                  <a:lnTo>
                    <a:pt x="331" y="130"/>
                  </a:lnTo>
                  <a:lnTo>
                    <a:pt x="331" y="116"/>
                  </a:lnTo>
                  <a:lnTo>
                    <a:pt x="331" y="102"/>
                  </a:lnTo>
                  <a:lnTo>
                    <a:pt x="360" y="102"/>
                  </a:lnTo>
                  <a:lnTo>
                    <a:pt x="374" y="87"/>
                  </a:lnTo>
                  <a:lnTo>
                    <a:pt x="360" y="87"/>
                  </a:lnTo>
                  <a:lnTo>
                    <a:pt x="331" y="71"/>
                  </a:lnTo>
                  <a:lnTo>
                    <a:pt x="318" y="58"/>
                  </a:lnTo>
                  <a:lnTo>
                    <a:pt x="360" y="44"/>
                  </a:lnTo>
                  <a:lnTo>
                    <a:pt x="374" y="29"/>
                  </a:lnTo>
                  <a:lnTo>
                    <a:pt x="390" y="29"/>
                  </a:lnTo>
                  <a:lnTo>
                    <a:pt x="374" y="29"/>
                  </a:lnTo>
                  <a:lnTo>
                    <a:pt x="390" y="15"/>
                  </a:lnTo>
                  <a:lnTo>
                    <a:pt x="419" y="15"/>
                  </a:lnTo>
                  <a:lnTo>
                    <a:pt x="432" y="0"/>
                  </a:lnTo>
                  <a:lnTo>
                    <a:pt x="461" y="15"/>
                  </a:lnTo>
                  <a:lnTo>
                    <a:pt x="477" y="15"/>
                  </a:lnTo>
                  <a:lnTo>
                    <a:pt x="490" y="15"/>
                  </a:lnTo>
                  <a:lnTo>
                    <a:pt x="504" y="15"/>
                  </a:lnTo>
                  <a:lnTo>
                    <a:pt x="504" y="0"/>
                  </a:lnTo>
                  <a:lnTo>
                    <a:pt x="519" y="15"/>
                  </a:lnTo>
                  <a:lnTo>
                    <a:pt x="533" y="29"/>
                  </a:lnTo>
                  <a:lnTo>
                    <a:pt x="519" y="44"/>
                  </a:lnTo>
                  <a:lnTo>
                    <a:pt x="504" y="44"/>
                  </a:lnTo>
                  <a:lnTo>
                    <a:pt x="490" y="44"/>
                  </a:lnTo>
                  <a:lnTo>
                    <a:pt x="504" y="58"/>
                  </a:lnTo>
                  <a:lnTo>
                    <a:pt x="490" y="58"/>
                  </a:lnTo>
                  <a:lnTo>
                    <a:pt x="461" y="58"/>
                  </a:lnTo>
                  <a:lnTo>
                    <a:pt x="448" y="71"/>
                  </a:lnTo>
                  <a:lnTo>
                    <a:pt x="432" y="87"/>
                  </a:lnTo>
                  <a:lnTo>
                    <a:pt x="432" y="102"/>
                  </a:lnTo>
                  <a:lnTo>
                    <a:pt x="419" y="116"/>
                  </a:lnTo>
                  <a:lnTo>
                    <a:pt x="403" y="102"/>
                  </a:lnTo>
                  <a:lnTo>
                    <a:pt x="390" y="102"/>
                  </a:lnTo>
                  <a:lnTo>
                    <a:pt x="390" y="116"/>
                  </a:lnTo>
                  <a:lnTo>
                    <a:pt x="374" y="130"/>
                  </a:lnTo>
                  <a:lnTo>
                    <a:pt x="390" y="143"/>
                  </a:lnTo>
                  <a:lnTo>
                    <a:pt x="403" y="159"/>
                  </a:lnTo>
                  <a:lnTo>
                    <a:pt x="419" y="174"/>
                  </a:lnTo>
                  <a:lnTo>
                    <a:pt x="432" y="188"/>
                  </a:lnTo>
                  <a:lnTo>
                    <a:pt x="448" y="174"/>
                  </a:lnTo>
                  <a:lnTo>
                    <a:pt x="461" y="174"/>
                  </a:lnTo>
                  <a:lnTo>
                    <a:pt x="477" y="174"/>
                  </a:lnTo>
                  <a:lnTo>
                    <a:pt x="504" y="188"/>
                  </a:lnTo>
                  <a:lnTo>
                    <a:pt x="504" y="201"/>
                  </a:lnTo>
                  <a:lnTo>
                    <a:pt x="519" y="217"/>
                  </a:lnTo>
                  <a:lnTo>
                    <a:pt x="533" y="244"/>
                  </a:lnTo>
                  <a:lnTo>
                    <a:pt x="533" y="244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8" name="Freeform 28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2760663" y="3289301"/>
              <a:ext cx="239713" cy="173038"/>
            </a:xfrm>
            <a:custGeom>
              <a:avLst/>
              <a:gdLst>
                <a:gd name="T0" fmla="*/ 130 w 244"/>
                <a:gd name="T1" fmla="*/ 14 h 202"/>
                <a:gd name="T2" fmla="*/ 115 w 244"/>
                <a:gd name="T3" fmla="*/ 14 h 202"/>
                <a:gd name="T4" fmla="*/ 85 w 244"/>
                <a:gd name="T5" fmla="*/ 14 h 202"/>
                <a:gd name="T6" fmla="*/ 72 w 244"/>
                <a:gd name="T7" fmla="*/ 29 h 202"/>
                <a:gd name="T8" fmla="*/ 58 w 244"/>
                <a:gd name="T9" fmla="*/ 43 h 202"/>
                <a:gd name="T10" fmla="*/ 58 w 244"/>
                <a:gd name="T11" fmla="*/ 58 h 202"/>
                <a:gd name="T12" fmla="*/ 43 w 244"/>
                <a:gd name="T13" fmla="*/ 72 h 202"/>
                <a:gd name="T14" fmla="*/ 27 w 244"/>
                <a:gd name="T15" fmla="*/ 58 h 202"/>
                <a:gd name="T16" fmla="*/ 14 w 244"/>
                <a:gd name="T17" fmla="*/ 58 h 202"/>
                <a:gd name="T18" fmla="*/ 14 w 244"/>
                <a:gd name="T19" fmla="*/ 72 h 202"/>
                <a:gd name="T20" fmla="*/ 0 w 244"/>
                <a:gd name="T21" fmla="*/ 87 h 202"/>
                <a:gd name="T22" fmla="*/ 14 w 244"/>
                <a:gd name="T23" fmla="*/ 101 h 202"/>
                <a:gd name="T24" fmla="*/ 27 w 244"/>
                <a:gd name="T25" fmla="*/ 115 h 202"/>
                <a:gd name="T26" fmla="*/ 43 w 244"/>
                <a:gd name="T27" fmla="*/ 130 h 202"/>
                <a:gd name="T28" fmla="*/ 58 w 244"/>
                <a:gd name="T29" fmla="*/ 144 h 202"/>
                <a:gd name="T30" fmla="*/ 72 w 244"/>
                <a:gd name="T31" fmla="*/ 130 h 202"/>
                <a:gd name="T32" fmla="*/ 85 w 244"/>
                <a:gd name="T33" fmla="*/ 130 h 202"/>
                <a:gd name="T34" fmla="*/ 101 w 244"/>
                <a:gd name="T35" fmla="*/ 130 h 202"/>
                <a:gd name="T36" fmla="*/ 130 w 244"/>
                <a:gd name="T37" fmla="*/ 144 h 202"/>
                <a:gd name="T38" fmla="*/ 130 w 244"/>
                <a:gd name="T39" fmla="*/ 159 h 202"/>
                <a:gd name="T40" fmla="*/ 144 w 244"/>
                <a:gd name="T41" fmla="*/ 173 h 202"/>
                <a:gd name="T42" fmla="*/ 159 w 244"/>
                <a:gd name="T43" fmla="*/ 202 h 202"/>
                <a:gd name="T44" fmla="*/ 173 w 244"/>
                <a:gd name="T45" fmla="*/ 188 h 202"/>
                <a:gd name="T46" fmla="*/ 186 w 244"/>
                <a:gd name="T47" fmla="*/ 173 h 202"/>
                <a:gd name="T48" fmla="*/ 202 w 244"/>
                <a:gd name="T49" fmla="*/ 173 h 202"/>
                <a:gd name="T50" fmla="*/ 215 w 244"/>
                <a:gd name="T51" fmla="*/ 173 h 202"/>
                <a:gd name="T52" fmla="*/ 215 w 244"/>
                <a:gd name="T53" fmla="*/ 144 h 202"/>
                <a:gd name="T54" fmla="*/ 231 w 244"/>
                <a:gd name="T55" fmla="*/ 130 h 202"/>
                <a:gd name="T56" fmla="*/ 231 w 244"/>
                <a:gd name="T57" fmla="*/ 144 h 202"/>
                <a:gd name="T58" fmla="*/ 231 w 244"/>
                <a:gd name="T59" fmla="*/ 159 h 202"/>
                <a:gd name="T60" fmla="*/ 244 w 244"/>
                <a:gd name="T61" fmla="*/ 159 h 202"/>
                <a:gd name="T62" fmla="*/ 244 w 244"/>
                <a:gd name="T63" fmla="*/ 144 h 202"/>
                <a:gd name="T64" fmla="*/ 244 w 244"/>
                <a:gd name="T65" fmla="*/ 130 h 202"/>
                <a:gd name="T66" fmla="*/ 231 w 244"/>
                <a:gd name="T67" fmla="*/ 115 h 202"/>
                <a:gd name="T68" fmla="*/ 215 w 244"/>
                <a:gd name="T69" fmla="*/ 130 h 202"/>
                <a:gd name="T70" fmla="*/ 202 w 244"/>
                <a:gd name="T71" fmla="*/ 115 h 202"/>
                <a:gd name="T72" fmla="*/ 215 w 244"/>
                <a:gd name="T73" fmla="*/ 101 h 202"/>
                <a:gd name="T74" fmla="*/ 231 w 244"/>
                <a:gd name="T75" fmla="*/ 101 h 202"/>
                <a:gd name="T76" fmla="*/ 231 w 244"/>
                <a:gd name="T77" fmla="*/ 87 h 202"/>
                <a:gd name="T78" fmla="*/ 231 w 244"/>
                <a:gd name="T79" fmla="*/ 72 h 202"/>
                <a:gd name="T80" fmla="*/ 215 w 244"/>
                <a:gd name="T81" fmla="*/ 43 h 202"/>
                <a:gd name="T82" fmla="*/ 215 w 244"/>
                <a:gd name="T83" fmla="*/ 29 h 202"/>
                <a:gd name="T84" fmla="*/ 215 w 244"/>
                <a:gd name="T85" fmla="*/ 14 h 202"/>
                <a:gd name="T86" fmla="*/ 202 w 244"/>
                <a:gd name="T87" fmla="*/ 14 h 202"/>
                <a:gd name="T88" fmla="*/ 186 w 244"/>
                <a:gd name="T89" fmla="*/ 14 h 202"/>
                <a:gd name="T90" fmla="*/ 173 w 244"/>
                <a:gd name="T91" fmla="*/ 14 h 202"/>
                <a:gd name="T92" fmla="*/ 173 w 244"/>
                <a:gd name="T93" fmla="*/ 0 h 202"/>
                <a:gd name="T94" fmla="*/ 159 w 244"/>
                <a:gd name="T95" fmla="*/ 0 h 202"/>
                <a:gd name="T96" fmla="*/ 144 w 244"/>
                <a:gd name="T97" fmla="*/ 14 h 202"/>
                <a:gd name="T98" fmla="*/ 130 w 244"/>
                <a:gd name="T99" fmla="*/ 14 h 202"/>
                <a:gd name="T100" fmla="*/ 130 w 244"/>
                <a:gd name="T101" fmla="*/ 1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4" h="202">
                  <a:moveTo>
                    <a:pt x="130" y="14"/>
                  </a:moveTo>
                  <a:lnTo>
                    <a:pt x="115" y="14"/>
                  </a:lnTo>
                  <a:lnTo>
                    <a:pt x="85" y="14"/>
                  </a:lnTo>
                  <a:lnTo>
                    <a:pt x="72" y="29"/>
                  </a:lnTo>
                  <a:lnTo>
                    <a:pt x="58" y="43"/>
                  </a:lnTo>
                  <a:lnTo>
                    <a:pt x="58" y="58"/>
                  </a:lnTo>
                  <a:lnTo>
                    <a:pt x="43" y="72"/>
                  </a:lnTo>
                  <a:lnTo>
                    <a:pt x="27" y="58"/>
                  </a:lnTo>
                  <a:lnTo>
                    <a:pt x="14" y="58"/>
                  </a:lnTo>
                  <a:lnTo>
                    <a:pt x="14" y="72"/>
                  </a:lnTo>
                  <a:lnTo>
                    <a:pt x="0" y="87"/>
                  </a:lnTo>
                  <a:lnTo>
                    <a:pt x="14" y="101"/>
                  </a:lnTo>
                  <a:lnTo>
                    <a:pt x="27" y="115"/>
                  </a:lnTo>
                  <a:lnTo>
                    <a:pt x="43" y="130"/>
                  </a:lnTo>
                  <a:lnTo>
                    <a:pt x="58" y="144"/>
                  </a:lnTo>
                  <a:lnTo>
                    <a:pt x="72" y="130"/>
                  </a:lnTo>
                  <a:lnTo>
                    <a:pt x="85" y="130"/>
                  </a:lnTo>
                  <a:lnTo>
                    <a:pt x="101" y="130"/>
                  </a:lnTo>
                  <a:lnTo>
                    <a:pt x="130" y="144"/>
                  </a:lnTo>
                  <a:lnTo>
                    <a:pt x="130" y="159"/>
                  </a:lnTo>
                  <a:lnTo>
                    <a:pt x="144" y="173"/>
                  </a:lnTo>
                  <a:lnTo>
                    <a:pt x="159" y="202"/>
                  </a:lnTo>
                  <a:lnTo>
                    <a:pt x="173" y="188"/>
                  </a:lnTo>
                  <a:lnTo>
                    <a:pt x="186" y="173"/>
                  </a:lnTo>
                  <a:lnTo>
                    <a:pt x="202" y="173"/>
                  </a:lnTo>
                  <a:lnTo>
                    <a:pt x="215" y="173"/>
                  </a:lnTo>
                  <a:lnTo>
                    <a:pt x="215" y="144"/>
                  </a:lnTo>
                  <a:lnTo>
                    <a:pt x="231" y="130"/>
                  </a:lnTo>
                  <a:lnTo>
                    <a:pt x="231" y="144"/>
                  </a:lnTo>
                  <a:lnTo>
                    <a:pt x="231" y="159"/>
                  </a:lnTo>
                  <a:lnTo>
                    <a:pt x="244" y="159"/>
                  </a:lnTo>
                  <a:lnTo>
                    <a:pt x="244" y="144"/>
                  </a:lnTo>
                  <a:lnTo>
                    <a:pt x="244" y="130"/>
                  </a:lnTo>
                  <a:lnTo>
                    <a:pt x="231" y="115"/>
                  </a:lnTo>
                  <a:lnTo>
                    <a:pt x="215" y="130"/>
                  </a:lnTo>
                  <a:lnTo>
                    <a:pt x="202" y="115"/>
                  </a:lnTo>
                  <a:lnTo>
                    <a:pt x="215" y="101"/>
                  </a:lnTo>
                  <a:lnTo>
                    <a:pt x="231" y="101"/>
                  </a:lnTo>
                  <a:lnTo>
                    <a:pt x="231" y="87"/>
                  </a:lnTo>
                  <a:lnTo>
                    <a:pt x="231" y="72"/>
                  </a:lnTo>
                  <a:lnTo>
                    <a:pt x="215" y="43"/>
                  </a:lnTo>
                  <a:lnTo>
                    <a:pt x="215" y="29"/>
                  </a:lnTo>
                  <a:lnTo>
                    <a:pt x="215" y="14"/>
                  </a:lnTo>
                  <a:lnTo>
                    <a:pt x="202" y="14"/>
                  </a:lnTo>
                  <a:lnTo>
                    <a:pt x="186" y="14"/>
                  </a:lnTo>
                  <a:lnTo>
                    <a:pt x="173" y="14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4" y="14"/>
                  </a:lnTo>
                  <a:lnTo>
                    <a:pt x="130" y="14"/>
                  </a:lnTo>
                  <a:lnTo>
                    <a:pt x="130" y="14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9" name="Freeform 29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3956050" y="5143501"/>
              <a:ext cx="109538" cy="169863"/>
            </a:xfrm>
            <a:custGeom>
              <a:avLst/>
              <a:gdLst>
                <a:gd name="T0" fmla="*/ 37 w 110"/>
                <a:gd name="T1" fmla="*/ 194 h 208"/>
                <a:gd name="T2" fmla="*/ 29 w 110"/>
                <a:gd name="T3" fmla="*/ 190 h 208"/>
                <a:gd name="T4" fmla="*/ 19 w 110"/>
                <a:gd name="T5" fmla="*/ 179 h 208"/>
                <a:gd name="T6" fmla="*/ 19 w 110"/>
                <a:gd name="T7" fmla="*/ 163 h 208"/>
                <a:gd name="T8" fmla="*/ 10 w 110"/>
                <a:gd name="T9" fmla="*/ 150 h 208"/>
                <a:gd name="T10" fmla="*/ 0 w 110"/>
                <a:gd name="T11" fmla="*/ 136 h 208"/>
                <a:gd name="T12" fmla="*/ 10 w 110"/>
                <a:gd name="T13" fmla="*/ 126 h 208"/>
                <a:gd name="T14" fmla="*/ 10 w 110"/>
                <a:gd name="T15" fmla="*/ 121 h 208"/>
                <a:gd name="T16" fmla="*/ 10 w 110"/>
                <a:gd name="T17" fmla="*/ 107 h 208"/>
                <a:gd name="T18" fmla="*/ 4 w 110"/>
                <a:gd name="T19" fmla="*/ 95 h 208"/>
                <a:gd name="T20" fmla="*/ 0 w 110"/>
                <a:gd name="T21" fmla="*/ 78 h 208"/>
                <a:gd name="T22" fmla="*/ 4 w 110"/>
                <a:gd name="T23" fmla="*/ 62 h 208"/>
                <a:gd name="T24" fmla="*/ 0 w 110"/>
                <a:gd name="T25" fmla="*/ 51 h 208"/>
                <a:gd name="T26" fmla="*/ 10 w 110"/>
                <a:gd name="T27" fmla="*/ 41 h 208"/>
                <a:gd name="T28" fmla="*/ 23 w 110"/>
                <a:gd name="T29" fmla="*/ 26 h 208"/>
                <a:gd name="T30" fmla="*/ 39 w 110"/>
                <a:gd name="T31" fmla="*/ 18 h 208"/>
                <a:gd name="T32" fmla="*/ 45 w 110"/>
                <a:gd name="T33" fmla="*/ 10 h 208"/>
                <a:gd name="T34" fmla="*/ 52 w 110"/>
                <a:gd name="T35" fmla="*/ 6 h 208"/>
                <a:gd name="T36" fmla="*/ 68 w 110"/>
                <a:gd name="T37" fmla="*/ 6 h 208"/>
                <a:gd name="T38" fmla="*/ 81 w 110"/>
                <a:gd name="T39" fmla="*/ 0 h 208"/>
                <a:gd name="T40" fmla="*/ 95 w 110"/>
                <a:gd name="T41" fmla="*/ 4 h 208"/>
                <a:gd name="T42" fmla="*/ 99 w 110"/>
                <a:gd name="T43" fmla="*/ 0 h 208"/>
                <a:gd name="T44" fmla="*/ 105 w 110"/>
                <a:gd name="T45" fmla="*/ 6 h 208"/>
                <a:gd name="T46" fmla="*/ 110 w 110"/>
                <a:gd name="T47" fmla="*/ 22 h 208"/>
                <a:gd name="T48" fmla="*/ 110 w 110"/>
                <a:gd name="T49" fmla="*/ 35 h 208"/>
                <a:gd name="T50" fmla="*/ 110 w 110"/>
                <a:gd name="T51" fmla="*/ 51 h 208"/>
                <a:gd name="T52" fmla="*/ 110 w 110"/>
                <a:gd name="T53" fmla="*/ 80 h 208"/>
                <a:gd name="T54" fmla="*/ 97 w 110"/>
                <a:gd name="T55" fmla="*/ 93 h 208"/>
                <a:gd name="T56" fmla="*/ 81 w 110"/>
                <a:gd name="T57" fmla="*/ 107 h 208"/>
                <a:gd name="T58" fmla="*/ 81 w 110"/>
                <a:gd name="T59" fmla="*/ 121 h 208"/>
                <a:gd name="T60" fmla="*/ 81 w 110"/>
                <a:gd name="T61" fmla="*/ 136 h 208"/>
                <a:gd name="T62" fmla="*/ 68 w 110"/>
                <a:gd name="T63" fmla="*/ 165 h 208"/>
                <a:gd name="T64" fmla="*/ 68 w 110"/>
                <a:gd name="T65" fmla="*/ 179 h 208"/>
                <a:gd name="T66" fmla="*/ 52 w 110"/>
                <a:gd name="T67" fmla="*/ 194 h 208"/>
                <a:gd name="T68" fmla="*/ 52 w 110"/>
                <a:gd name="T69" fmla="*/ 208 h 208"/>
                <a:gd name="T70" fmla="*/ 39 w 110"/>
                <a:gd name="T71" fmla="*/ 194 h 208"/>
                <a:gd name="T72" fmla="*/ 39 w 110"/>
                <a:gd name="T73" fmla="*/ 194 h 208"/>
                <a:gd name="T74" fmla="*/ 37 w 110"/>
                <a:gd name="T75" fmla="*/ 194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0" h="208">
                  <a:moveTo>
                    <a:pt x="37" y="194"/>
                  </a:moveTo>
                  <a:lnTo>
                    <a:pt x="29" y="190"/>
                  </a:lnTo>
                  <a:lnTo>
                    <a:pt x="19" y="179"/>
                  </a:lnTo>
                  <a:lnTo>
                    <a:pt x="19" y="163"/>
                  </a:lnTo>
                  <a:lnTo>
                    <a:pt x="10" y="150"/>
                  </a:lnTo>
                  <a:lnTo>
                    <a:pt x="0" y="136"/>
                  </a:lnTo>
                  <a:lnTo>
                    <a:pt x="10" y="126"/>
                  </a:lnTo>
                  <a:lnTo>
                    <a:pt x="10" y="121"/>
                  </a:lnTo>
                  <a:lnTo>
                    <a:pt x="10" y="107"/>
                  </a:lnTo>
                  <a:lnTo>
                    <a:pt x="4" y="95"/>
                  </a:lnTo>
                  <a:lnTo>
                    <a:pt x="0" y="78"/>
                  </a:lnTo>
                  <a:lnTo>
                    <a:pt x="4" y="62"/>
                  </a:lnTo>
                  <a:lnTo>
                    <a:pt x="0" y="51"/>
                  </a:lnTo>
                  <a:lnTo>
                    <a:pt x="10" y="41"/>
                  </a:lnTo>
                  <a:lnTo>
                    <a:pt x="23" y="26"/>
                  </a:lnTo>
                  <a:lnTo>
                    <a:pt x="39" y="18"/>
                  </a:lnTo>
                  <a:lnTo>
                    <a:pt x="45" y="10"/>
                  </a:lnTo>
                  <a:lnTo>
                    <a:pt x="52" y="6"/>
                  </a:lnTo>
                  <a:lnTo>
                    <a:pt x="68" y="6"/>
                  </a:lnTo>
                  <a:lnTo>
                    <a:pt x="81" y="0"/>
                  </a:lnTo>
                  <a:lnTo>
                    <a:pt x="95" y="4"/>
                  </a:lnTo>
                  <a:lnTo>
                    <a:pt x="99" y="0"/>
                  </a:lnTo>
                  <a:lnTo>
                    <a:pt x="105" y="6"/>
                  </a:lnTo>
                  <a:lnTo>
                    <a:pt x="110" y="22"/>
                  </a:lnTo>
                  <a:lnTo>
                    <a:pt x="110" y="35"/>
                  </a:lnTo>
                  <a:lnTo>
                    <a:pt x="110" y="51"/>
                  </a:lnTo>
                  <a:lnTo>
                    <a:pt x="110" y="80"/>
                  </a:lnTo>
                  <a:lnTo>
                    <a:pt x="97" y="93"/>
                  </a:lnTo>
                  <a:lnTo>
                    <a:pt x="81" y="107"/>
                  </a:lnTo>
                  <a:lnTo>
                    <a:pt x="81" y="121"/>
                  </a:lnTo>
                  <a:lnTo>
                    <a:pt x="81" y="136"/>
                  </a:lnTo>
                  <a:lnTo>
                    <a:pt x="68" y="165"/>
                  </a:lnTo>
                  <a:lnTo>
                    <a:pt x="68" y="179"/>
                  </a:lnTo>
                  <a:lnTo>
                    <a:pt x="52" y="194"/>
                  </a:lnTo>
                  <a:lnTo>
                    <a:pt x="52" y="208"/>
                  </a:lnTo>
                  <a:lnTo>
                    <a:pt x="39" y="194"/>
                  </a:lnTo>
                  <a:lnTo>
                    <a:pt x="39" y="194"/>
                  </a:lnTo>
                  <a:lnTo>
                    <a:pt x="37" y="194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0" name="Freeform 30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3851275" y="5326063"/>
              <a:ext cx="200025" cy="279400"/>
            </a:xfrm>
            <a:custGeom>
              <a:avLst/>
              <a:gdLst>
                <a:gd name="T0" fmla="*/ 29 w 204"/>
                <a:gd name="T1" fmla="*/ 57 h 344"/>
                <a:gd name="T2" fmla="*/ 72 w 204"/>
                <a:gd name="T3" fmla="*/ 43 h 344"/>
                <a:gd name="T4" fmla="*/ 101 w 204"/>
                <a:gd name="T5" fmla="*/ 27 h 344"/>
                <a:gd name="T6" fmla="*/ 130 w 204"/>
                <a:gd name="T7" fmla="*/ 27 h 344"/>
                <a:gd name="T8" fmla="*/ 146 w 204"/>
                <a:gd name="T9" fmla="*/ 14 h 344"/>
                <a:gd name="T10" fmla="*/ 159 w 204"/>
                <a:gd name="T11" fmla="*/ 14 h 344"/>
                <a:gd name="T12" fmla="*/ 188 w 204"/>
                <a:gd name="T13" fmla="*/ 43 h 344"/>
                <a:gd name="T14" fmla="*/ 188 w 204"/>
                <a:gd name="T15" fmla="*/ 57 h 344"/>
                <a:gd name="T16" fmla="*/ 204 w 204"/>
                <a:gd name="T17" fmla="*/ 70 h 344"/>
                <a:gd name="T18" fmla="*/ 188 w 204"/>
                <a:gd name="T19" fmla="*/ 115 h 344"/>
                <a:gd name="T20" fmla="*/ 204 w 204"/>
                <a:gd name="T21" fmla="*/ 128 h 344"/>
                <a:gd name="T22" fmla="*/ 175 w 204"/>
                <a:gd name="T23" fmla="*/ 142 h 344"/>
                <a:gd name="T24" fmla="*/ 175 w 204"/>
                <a:gd name="T25" fmla="*/ 171 h 344"/>
                <a:gd name="T26" fmla="*/ 175 w 204"/>
                <a:gd name="T27" fmla="*/ 200 h 344"/>
                <a:gd name="T28" fmla="*/ 159 w 204"/>
                <a:gd name="T29" fmla="*/ 243 h 344"/>
                <a:gd name="T30" fmla="*/ 159 w 204"/>
                <a:gd name="T31" fmla="*/ 301 h 344"/>
                <a:gd name="T32" fmla="*/ 146 w 204"/>
                <a:gd name="T33" fmla="*/ 330 h 344"/>
                <a:gd name="T34" fmla="*/ 117 w 204"/>
                <a:gd name="T35" fmla="*/ 316 h 344"/>
                <a:gd name="T36" fmla="*/ 72 w 204"/>
                <a:gd name="T37" fmla="*/ 316 h 344"/>
                <a:gd name="T38" fmla="*/ 72 w 204"/>
                <a:gd name="T39" fmla="*/ 344 h 344"/>
                <a:gd name="T40" fmla="*/ 43 w 204"/>
                <a:gd name="T41" fmla="*/ 344 h 344"/>
                <a:gd name="T42" fmla="*/ 16 w 204"/>
                <a:gd name="T43" fmla="*/ 316 h 344"/>
                <a:gd name="T44" fmla="*/ 0 w 204"/>
                <a:gd name="T45" fmla="*/ 287 h 344"/>
                <a:gd name="T46" fmla="*/ 0 w 204"/>
                <a:gd name="T47" fmla="*/ 243 h 344"/>
                <a:gd name="T48" fmla="*/ 29 w 204"/>
                <a:gd name="T49" fmla="*/ 229 h 344"/>
                <a:gd name="T50" fmla="*/ 29 w 204"/>
                <a:gd name="T51" fmla="*/ 200 h 344"/>
                <a:gd name="T52" fmla="*/ 58 w 204"/>
                <a:gd name="T53" fmla="*/ 171 h 344"/>
                <a:gd name="T54" fmla="*/ 16 w 204"/>
                <a:gd name="T55" fmla="*/ 171 h 344"/>
                <a:gd name="T56" fmla="*/ 16 w 204"/>
                <a:gd name="T57" fmla="*/ 128 h 344"/>
                <a:gd name="T58" fmla="*/ 0 w 204"/>
                <a:gd name="T59" fmla="*/ 86 h 344"/>
                <a:gd name="T60" fmla="*/ 16 w 204"/>
                <a:gd name="T61" fmla="*/ 57 h 344"/>
                <a:gd name="T62" fmla="*/ 16 w 204"/>
                <a:gd name="T63" fmla="*/ 43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4" h="344">
                  <a:moveTo>
                    <a:pt x="16" y="43"/>
                  </a:moveTo>
                  <a:lnTo>
                    <a:pt x="29" y="57"/>
                  </a:lnTo>
                  <a:lnTo>
                    <a:pt x="43" y="43"/>
                  </a:lnTo>
                  <a:lnTo>
                    <a:pt x="72" y="43"/>
                  </a:lnTo>
                  <a:lnTo>
                    <a:pt x="88" y="43"/>
                  </a:lnTo>
                  <a:lnTo>
                    <a:pt x="101" y="27"/>
                  </a:lnTo>
                  <a:lnTo>
                    <a:pt x="117" y="27"/>
                  </a:lnTo>
                  <a:lnTo>
                    <a:pt x="130" y="27"/>
                  </a:lnTo>
                  <a:lnTo>
                    <a:pt x="130" y="14"/>
                  </a:lnTo>
                  <a:lnTo>
                    <a:pt x="146" y="14"/>
                  </a:lnTo>
                  <a:lnTo>
                    <a:pt x="159" y="0"/>
                  </a:lnTo>
                  <a:lnTo>
                    <a:pt x="159" y="14"/>
                  </a:lnTo>
                  <a:lnTo>
                    <a:pt x="175" y="27"/>
                  </a:lnTo>
                  <a:lnTo>
                    <a:pt x="188" y="43"/>
                  </a:lnTo>
                  <a:lnTo>
                    <a:pt x="175" y="43"/>
                  </a:lnTo>
                  <a:lnTo>
                    <a:pt x="188" y="57"/>
                  </a:lnTo>
                  <a:lnTo>
                    <a:pt x="188" y="70"/>
                  </a:lnTo>
                  <a:lnTo>
                    <a:pt x="204" y="70"/>
                  </a:lnTo>
                  <a:lnTo>
                    <a:pt x="204" y="86"/>
                  </a:lnTo>
                  <a:lnTo>
                    <a:pt x="188" y="115"/>
                  </a:lnTo>
                  <a:lnTo>
                    <a:pt x="204" y="115"/>
                  </a:lnTo>
                  <a:lnTo>
                    <a:pt x="204" y="128"/>
                  </a:lnTo>
                  <a:lnTo>
                    <a:pt x="188" y="142"/>
                  </a:lnTo>
                  <a:lnTo>
                    <a:pt x="175" y="142"/>
                  </a:lnTo>
                  <a:lnTo>
                    <a:pt x="175" y="157"/>
                  </a:lnTo>
                  <a:lnTo>
                    <a:pt x="175" y="171"/>
                  </a:lnTo>
                  <a:lnTo>
                    <a:pt x="175" y="186"/>
                  </a:lnTo>
                  <a:lnTo>
                    <a:pt x="175" y="200"/>
                  </a:lnTo>
                  <a:lnTo>
                    <a:pt x="175" y="214"/>
                  </a:lnTo>
                  <a:lnTo>
                    <a:pt x="159" y="243"/>
                  </a:lnTo>
                  <a:lnTo>
                    <a:pt x="159" y="272"/>
                  </a:lnTo>
                  <a:lnTo>
                    <a:pt x="159" y="301"/>
                  </a:lnTo>
                  <a:lnTo>
                    <a:pt x="159" y="316"/>
                  </a:lnTo>
                  <a:lnTo>
                    <a:pt x="146" y="330"/>
                  </a:lnTo>
                  <a:lnTo>
                    <a:pt x="130" y="316"/>
                  </a:lnTo>
                  <a:lnTo>
                    <a:pt x="117" y="316"/>
                  </a:lnTo>
                  <a:lnTo>
                    <a:pt x="88" y="301"/>
                  </a:lnTo>
                  <a:lnTo>
                    <a:pt x="72" y="316"/>
                  </a:lnTo>
                  <a:lnTo>
                    <a:pt x="72" y="330"/>
                  </a:lnTo>
                  <a:lnTo>
                    <a:pt x="72" y="344"/>
                  </a:lnTo>
                  <a:lnTo>
                    <a:pt x="58" y="344"/>
                  </a:lnTo>
                  <a:lnTo>
                    <a:pt x="43" y="344"/>
                  </a:lnTo>
                  <a:lnTo>
                    <a:pt x="16" y="330"/>
                  </a:lnTo>
                  <a:lnTo>
                    <a:pt x="16" y="316"/>
                  </a:lnTo>
                  <a:lnTo>
                    <a:pt x="16" y="301"/>
                  </a:lnTo>
                  <a:lnTo>
                    <a:pt x="0" y="287"/>
                  </a:lnTo>
                  <a:lnTo>
                    <a:pt x="16" y="258"/>
                  </a:lnTo>
                  <a:lnTo>
                    <a:pt x="0" y="243"/>
                  </a:lnTo>
                  <a:lnTo>
                    <a:pt x="16" y="243"/>
                  </a:lnTo>
                  <a:lnTo>
                    <a:pt x="29" y="229"/>
                  </a:lnTo>
                  <a:lnTo>
                    <a:pt x="29" y="214"/>
                  </a:lnTo>
                  <a:lnTo>
                    <a:pt x="29" y="200"/>
                  </a:lnTo>
                  <a:lnTo>
                    <a:pt x="43" y="186"/>
                  </a:lnTo>
                  <a:lnTo>
                    <a:pt x="58" y="171"/>
                  </a:lnTo>
                  <a:lnTo>
                    <a:pt x="29" y="171"/>
                  </a:lnTo>
                  <a:lnTo>
                    <a:pt x="16" y="171"/>
                  </a:lnTo>
                  <a:lnTo>
                    <a:pt x="16" y="142"/>
                  </a:lnTo>
                  <a:lnTo>
                    <a:pt x="16" y="128"/>
                  </a:lnTo>
                  <a:lnTo>
                    <a:pt x="0" y="99"/>
                  </a:lnTo>
                  <a:lnTo>
                    <a:pt x="0" y="86"/>
                  </a:lnTo>
                  <a:lnTo>
                    <a:pt x="0" y="70"/>
                  </a:lnTo>
                  <a:lnTo>
                    <a:pt x="16" y="57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3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1" name="Freeform 31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4330700" y="5737226"/>
              <a:ext cx="396875" cy="209550"/>
            </a:xfrm>
            <a:custGeom>
              <a:avLst/>
              <a:gdLst>
                <a:gd name="T0" fmla="*/ 403 w 403"/>
                <a:gd name="T1" fmla="*/ 13 h 258"/>
                <a:gd name="T2" fmla="*/ 403 w 403"/>
                <a:gd name="T3" fmla="*/ 29 h 258"/>
                <a:gd name="T4" fmla="*/ 403 w 403"/>
                <a:gd name="T5" fmla="*/ 42 h 258"/>
                <a:gd name="T6" fmla="*/ 390 w 403"/>
                <a:gd name="T7" fmla="*/ 71 h 258"/>
                <a:gd name="T8" fmla="*/ 376 w 403"/>
                <a:gd name="T9" fmla="*/ 71 h 258"/>
                <a:gd name="T10" fmla="*/ 361 w 403"/>
                <a:gd name="T11" fmla="*/ 85 h 258"/>
                <a:gd name="T12" fmla="*/ 361 w 403"/>
                <a:gd name="T13" fmla="*/ 100 h 258"/>
                <a:gd name="T14" fmla="*/ 361 w 403"/>
                <a:gd name="T15" fmla="*/ 114 h 258"/>
                <a:gd name="T16" fmla="*/ 361 w 403"/>
                <a:gd name="T17" fmla="*/ 128 h 258"/>
                <a:gd name="T18" fmla="*/ 347 w 403"/>
                <a:gd name="T19" fmla="*/ 143 h 258"/>
                <a:gd name="T20" fmla="*/ 347 w 403"/>
                <a:gd name="T21" fmla="*/ 157 h 258"/>
                <a:gd name="T22" fmla="*/ 347 w 403"/>
                <a:gd name="T23" fmla="*/ 172 h 258"/>
                <a:gd name="T24" fmla="*/ 361 w 403"/>
                <a:gd name="T25" fmla="*/ 172 h 258"/>
                <a:gd name="T26" fmla="*/ 347 w 403"/>
                <a:gd name="T27" fmla="*/ 186 h 258"/>
                <a:gd name="T28" fmla="*/ 361 w 403"/>
                <a:gd name="T29" fmla="*/ 186 h 258"/>
                <a:gd name="T30" fmla="*/ 361 w 403"/>
                <a:gd name="T31" fmla="*/ 215 h 258"/>
                <a:gd name="T32" fmla="*/ 332 w 403"/>
                <a:gd name="T33" fmla="*/ 228 h 258"/>
                <a:gd name="T34" fmla="*/ 332 w 403"/>
                <a:gd name="T35" fmla="*/ 258 h 258"/>
                <a:gd name="T36" fmla="*/ 302 w 403"/>
                <a:gd name="T37" fmla="*/ 244 h 258"/>
                <a:gd name="T38" fmla="*/ 289 w 403"/>
                <a:gd name="T39" fmla="*/ 258 h 258"/>
                <a:gd name="T40" fmla="*/ 260 w 403"/>
                <a:gd name="T41" fmla="*/ 244 h 258"/>
                <a:gd name="T42" fmla="*/ 244 w 403"/>
                <a:gd name="T43" fmla="*/ 215 h 258"/>
                <a:gd name="T44" fmla="*/ 244 w 403"/>
                <a:gd name="T45" fmla="*/ 199 h 258"/>
                <a:gd name="T46" fmla="*/ 215 w 403"/>
                <a:gd name="T47" fmla="*/ 186 h 258"/>
                <a:gd name="T48" fmla="*/ 188 w 403"/>
                <a:gd name="T49" fmla="*/ 186 h 258"/>
                <a:gd name="T50" fmla="*/ 174 w 403"/>
                <a:gd name="T51" fmla="*/ 172 h 258"/>
                <a:gd name="T52" fmla="*/ 145 w 403"/>
                <a:gd name="T53" fmla="*/ 172 h 258"/>
                <a:gd name="T54" fmla="*/ 130 w 403"/>
                <a:gd name="T55" fmla="*/ 143 h 258"/>
                <a:gd name="T56" fmla="*/ 116 w 403"/>
                <a:gd name="T57" fmla="*/ 128 h 258"/>
                <a:gd name="T58" fmla="*/ 74 w 403"/>
                <a:gd name="T59" fmla="*/ 114 h 258"/>
                <a:gd name="T60" fmla="*/ 58 w 403"/>
                <a:gd name="T61" fmla="*/ 100 h 258"/>
                <a:gd name="T62" fmla="*/ 45 w 403"/>
                <a:gd name="T63" fmla="*/ 100 h 258"/>
                <a:gd name="T64" fmla="*/ 14 w 403"/>
                <a:gd name="T65" fmla="*/ 85 h 258"/>
                <a:gd name="T66" fmla="*/ 0 w 403"/>
                <a:gd name="T67" fmla="*/ 71 h 258"/>
                <a:gd name="T68" fmla="*/ 0 w 403"/>
                <a:gd name="T69" fmla="*/ 58 h 258"/>
                <a:gd name="T70" fmla="*/ 14 w 403"/>
                <a:gd name="T71" fmla="*/ 42 h 258"/>
                <a:gd name="T72" fmla="*/ 14 w 403"/>
                <a:gd name="T73" fmla="*/ 13 h 258"/>
                <a:gd name="T74" fmla="*/ 29 w 403"/>
                <a:gd name="T75" fmla="*/ 13 h 258"/>
                <a:gd name="T76" fmla="*/ 45 w 403"/>
                <a:gd name="T77" fmla="*/ 0 h 258"/>
                <a:gd name="T78" fmla="*/ 58 w 403"/>
                <a:gd name="T79" fmla="*/ 13 h 258"/>
                <a:gd name="T80" fmla="*/ 58 w 403"/>
                <a:gd name="T81" fmla="*/ 29 h 258"/>
                <a:gd name="T82" fmla="*/ 87 w 403"/>
                <a:gd name="T83" fmla="*/ 13 h 258"/>
                <a:gd name="T84" fmla="*/ 116 w 403"/>
                <a:gd name="T85" fmla="*/ 13 h 258"/>
                <a:gd name="T86" fmla="*/ 130 w 403"/>
                <a:gd name="T87" fmla="*/ 29 h 258"/>
                <a:gd name="T88" fmla="*/ 159 w 403"/>
                <a:gd name="T89" fmla="*/ 42 h 258"/>
                <a:gd name="T90" fmla="*/ 188 w 403"/>
                <a:gd name="T91" fmla="*/ 58 h 258"/>
                <a:gd name="T92" fmla="*/ 215 w 403"/>
                <a:gd name="T93" fmla="*/ 58 h 258"/>
                <a:gd name="T94" fmla="*/ 244 w 403"/>
                <a:gd name="T95" fmla="*/ 42 h 258"/>
                <a:gd name="T96" fmla="*/ 260 w 403"/>
                <a:gd name="T97" fmla="*/ 42 h 258"/>
                <a:gd name="T98" fmla="*/ 273 w 403"/>
                <a:gd name="T99" fmla="*/ 42 h 258"/>
                <a:gd name="T100" fmla="*/ 289 w 403"/>
                <a:gd name="T101" fmla="*/ 42 h 258"/>
                <a:gd name="T102" fmla="*/ 302 w 403"/>
                <a:gd name="T103" fmla="*/ 29 h 258"/>
                <a:gd name="T104" fmla="*/ 318 w 403"/>
                <a:gd name="T105" fmla="*/ 29 h 258"/>
                <a:gd name="T106" fmla="*/ 332 w 403"/>
                <a:gd name="T107" fmla="*/ 42 h 258"/>
                <a:gd name="T108" fmla="*/ 347 w 403"/>
                <a:gd name="T109" fmla="*/ 29 h 258"/>
                <a:gd name="T110" fmla="*/ 376 w 403"/>
                <a:gd name="T111" fmla="*/ 29 h 258"/>
                <a:gd name="T112" fmla="*/ 403 w 403"/>
                <a:gd name="T113" fmla="*/ 13 h 258"/>
                <a:gd name="T114" fmla="*/ 403 w 403"/>
                <a:gd name="T115" fmla="*/ 13 h 258"/>
                <a:gd name="T116" fmla="*/ 403 w 403"/>
                <a:gd name="T117" fmla="*/ 13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3" h="258">
                  <a:moveTo>
                    <a:pt x="403" y="13"/>
                  </a:moveTo>
                  <a:lnTo>
                    <a:pt x="403" y="29"/>
                  </a:lnTo>
                  <a:lnTo>
                    <a:pt x="403" y="42"/>
                  </a:lnTo>
                  <a:lnTo>
                    <a:pt x="390" y="71"/>
                  </a:lnTo>
                  <a:lnTo>
                    <a:pt x="376" y="71"/>
                  </a:lnTo>
                  <a:lnTo>
                    <a:pt x="361" y="85"/>
                  </a:lnTo>
                  <a:lnTo>
                    <a:pt x="361" y="100"/>
                  </a:lnTo>
                  <a:lnTo>
                    <a:pt x="361" y="114"/>
                  </a:lnTo>
                  <a:lnTo>
                    <a:pt x="361" y="128"/>
                  </a:lnTo>
                  <a:lnTo>
                    <a:pt x="347" y="143"/>
                  </a:lnTo>
                  <a:lnTo>
                    <a:pt x="347" y="157"/>
                  </a:lnTo>
                  <a:lnTo>
                    <a:pt x="347" y="172"/>
                  </a:lnTo>
                  <a:lnTo>
                    <a:pt x="361" y="172"/>
                  </a:lnTo>
                  <a:lnTo>
                    <a:pt x="347" y="186"/>
                  </a:lnTo>
                  <a:lnTo>
                    <a:pt x="361" y="186"/>
                  </a:lnTo>
                  <a:lnTo>
                    <a:pt x="361" y="215"/>
                  </a:lnTo>
                  <a:lnTo>
                    <a:pt x="332" y="228"/>
                  </a:lnTo>
                  <a:lnTo>
                    <a:pt x="332" y="258"/>
                  </a:lnTo>
                  <a:lnTo>
                    <a:pt x="302" y="244"/>
                  </a:lnTo>
                  <a:lnTo>
                    <a:pt x="289" y="258"/>
                  </a:lnTo>
                  <a:lnTo>
                    <a:pt x="260" y="244"/>
                  </a:lnTo>
                  <a:lnTo>
                    <a:pt x="244" y="215"/>
                  </a:lnTo>
                  <a:lnTo>
                    <a:pt x="244" y="199"/>
                  </a:lnTo>
                  <a:lnTo>
                    <a:pt x="215" y="186"/>
                  </a:lnTo>
                  <a:lnTo>
                    <a:pt x="188" y="186"/>
                  </a:lnTo>
                  <a:lnTo>
                    <a:pt x="174" y="172"/>
                  </a:lnTo>
                  <a:lnTo>
                    <a:pt x="145" y="172"/>
                  </a:lnTo>
                  <a:lnTo>
                    <a:pt x="130" y="143"/>
                  </a:lnTo>
                  <a:lnTo>
                    <a:pt x="116" y="128"/>
                  </a:lnTo>
                  <a:lnTo>
                    <a:pt x="74" y="114"/>
                  </a:lnTo>
                  <a:lnTo>
                    <a:pt x="58" y="100"/>
                  </a:lnTo>
                  <a:lnTo>
                    <a:pt x="45" y="100"/>
                  </a:lnTo>
                  <a:lnTo>
                    <a:pt x="14" y="85"/>
                  </a:lnTo>
                  <a:lnTo>
                    <a:pt x="0" y="71"/>
                  </a:lnTo>
                  <a:lnTo>
                    <a:pt x="0" y="58"/>
                  </a:lnTo>
                  <a:lnTo>
                    <a:pt x="14" y="42"/>
                  </a:lnTo>
                  <a:lnTo>
                    <a:pt x="14" y="13"/>
                  </a:lnTo>
                  <a:lnTo>
                    <a:pt x="29" y="13"/>
                  </a:lnTo>
                  <a:lnTo>
                    <a:pt x="45" y="0"/>
                  </a:lnTo>
                  <a:lnTo>
                    <a:pt x="58" y="13"/>
                  </a:lnTo>
                  <a:lnTo>
                    <a:pt x="58" y="29"/>
                  </a:lnTo>
                  <a:lnTo>
                    <a:pt x="87" y="13"/>
                  </a:lnTo>
                  <a:lnTo>
                    <a:pt x="116" y="13"/>
                  </a:lnTo>
                  <a:lnTo>
                    <a:pt x="130" y="29"/>
                  </a:lnTo>
                  <a:lnTo>
                    <a:pt x="159" y="42"/>
                  </a:lnTo>
                  <a:lnTo>
                    <a:pt x="188" y="58"/>
                  </a:lnTo>
                  <a:lnTo>
                    <a:pt x="215" y="58"/>
                  </a:lnTo>
                  <a:lnTo>
                    <a:pt x="244" y="42"/>
                  </a:lnTo>
                  <a:lnTo>
                    <a:pt x="260" y="42"/>
                  </a:lnTo>
                  <a:lnTo>
                    <a:pt x="273" y="42"/>
                  </a:lnTo>
                  <a:lnTo>
                    <a:pt x="289" y="42"/>
                  </a:lnTo>
                  <a:lnTo>
                    <a:pt x="302" y="29"/>
                  </a:lnTo>
                  <a:lnTo>
                    <a:pt x="318" y="29"/>
                  </a:lnTo>
                  <a:lnTo>
                    <a:pt x="332" y="42"/>
                  </a:lnTo>
                  <a:lnTo>
                    <a:pt x="347" y="29"/>
                  </a:lnTo>
                  <a:lnTo>
                    <a:pt x="376" y="29"/>
                  </a:lnTo>
                  <a:lnTo>
                    <a:pt x="403" y="13"/>
                  </a:lnTo>
                  <a:lnTo>
                    <a:pt x="403" y="13"/>
                  </a:lnTo>
                  <a:lnTo>
                    <a:pt x="403" y="13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2" name="Freeform 32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3016250" y="3565526"/>
              <a:ext cx="46038" cy="25400"/>
            </a:xfrm>
            <a:custGeom>
              <a:avLst/>
              <a:gdLst>
                <a:gd name="T0" fmla="*/ 29 w 45"/>
                <a:gd name="T1" fmla="*/ 29 h 29"/>
                <a:gd name="T2" fmla="*/ 15 w 45"/>
                <a:gd name="T3" fmla="*/ 29 h 29"/>
                <a:gd name="T4" fmla="*/ 0 w 45"/>
                <a:gd name="T5" fmla="*/ 29 h 29"/>
                <a:gd name="T6" fmla="*/ 0 w 45"/>
                <a:gd name="T7" fmla="*/ 0 h 29"/>
                <a:gd name="T8" fmla="*/ 15 w 45"/>
                <a:gd name="T9" fmla="*/ 0 h 29"/>
                <a:gd name="T10" fmla="*/ 29 w 45"/>
                <a:gd name="T11" fmla="*/ 0 h 29"/>
                <a:gd name="T12" fmla="*/ 45 w 45"/>
                <a:gd name="T13" fmla="*/ 15 h 29"/>
                <a:gd name="T14" fmla="*/ 29 w 45"/>
                <a:gd name="T15" fmla="*/ 29 h 29"/>
                <a:gd name="T16" fmla="*/ 29 w 45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9">
                  <a:moveTo>
                    <a:pt x="29" y="29"/>
                  </a:moveTo>
                  <a:lnTo>
                    <a:pt x="15" y="29"/>
                  </a:lnTo>
                  <a:lnTo>
                    <a:pt x="0" y="29"/>
                  </a:lnTo>
                  <a:lnTo>
                    <a:pt x="0" y="0"/>
                  </a:lnTo>
                  <a:lnTo>
                    <a:pt x="15" y="0"/>
                  </a:lnTo>
                  <a:lnTo>
                    <a:pt x="29" y="0"/>
                  </a:lnTo>
                  <a:lnTo>
                    <a:pt x="45" y="15"/>
                  </a:lnTo>
                  <a:lnTo>
                    <a:pt x="29" y="29"/>
                  </a:lnTo>
                  <a:lnTo>
                    <a:pt x="29" y="29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3" name="Freeform 33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3016250" y="3565526"/>
              <a:ext cx="46038" cy="25400"/>
            </a:xfrm>
            <a:custGeom>
              <a:avLst/>
              <a:gdLst>
                <a:gd name="T0" fmla="*/ 29 w 45"/>
                <a:gd name="T1" fmla="*/ 29 h 29"/>
                <a:gd name="T2" fmla="*/ 15 w 45"/>
                <a:gd name="T3" fmla="*/ 29 h 29"/>
                <a:gd name="T4" fmla="*/ 0 w 45"/>
                <a:gd name="T5" fmla="*/ 29 h 29"/>
                <a:gd name="T6" fmla="*/ 0 w 45"/>
                <a:gd name="T7" fmla="*/ 0 h 29"/>
                <a:gd name="T8" fmla="*/ 15 w 45"/>
                <a:gd name="T9" fmla="*/ 0 h 29"/>
                <a:gd name="T10" fmla="*/ 29 w 45"/>
                <a:gd name="T11" fmla="*/ 0 h 29"/>
                <a:gd name="T12" fmla="*/ 45 w 45"/>
                <a:gd name="T13" fmla="*/ 15 h 29"/>
                <a:gd name="T14" fmla="*/ 29 w 45"/>
                <a:gd name="T15" fmla="*/ 29 h 29"/>
                <a:gd name="T16" fmla="*/ 29 w 45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9">
                  <a:moveTo>
                    <a:pt x="29" y="29"/>
                  </a:moveTo>
                  <a:lnTo>
                    <a:pt x="15" y="29"/>
                  </a:lnTo>
                  <a:lnTo>
                    <a:pt x="0" y="29"/>
                  </a:lnTo>
                  <a:lnTo>
                    <a:pt x="0" y="0"/>
                  </a:lnTo>
                  <a:lnTo>
                    <a:pt x="15" y="0"/>
                  </a:lnTo>
                  <a:lnTo>
                    <a:pt x="29" y="0"/>
                  </a:lnTo>
                  <a:lnTo>
                    <a:pt x="45" y="15"/>
                  </a:lnTo>
                  <a:lnTo>
                    <a:pt x="29" y="29"/>
                  </a:lnTo>
                  <a:lnTo>
                    <a:pt x="29" y="29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4" name="Freeform 34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168650" y="3963988"/>
              <a:ext cx="39688" cy="12700"/>
            </a:xfrm>
            <a:custGeom>
              <a:avLst/>
              <a:gdLst>
                <a:gd name="T0" fmla="*/ 0 w 43"/>
                <a:gd name="T1" fmla="*/ 0 h 14"/>
                <a:gd name="T2" fmla="*/ 29 w 43"/>
                <a:gd name="T3" fmla="*/ 0 h 14"/>
                <a:gd name="T4" fmla="*/ 43 w 43"/>
                <a:gd name="T5" fmla="*/ 0 h 14"/>
                <a:gd name="T6" fmla="*/ 43 w 43"/>
                <a:gd name="T7" fmla="*/ 14 h 14"/>
                <a:gd name="T8" fmla="*/ 29 w 43"/>
                <a:gd name="T9" fmla="*/ 14 h 14"/>
                <a:gd name="T10" fmla="*/ 14 w 43"/>
                <a:gd name="T11" fmla="*/ 14 h 14"/>
                <a:gd name="T12" fmla="*/ 0 w 43"/>
                <a:gd name="T13" fmla="*/ 0 h 14"/>
                <a:gd name="T14" fmla="*/ 0 w 43"/>
                <a:gd name="T15" fmla="*/ 0 h 14"/>
                <a:gd name="T16" fmla="*/ 0 w 43"/>
                <a:gd name="T1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14">
                  <a:moveTo>
                    <a:pt x="0" y="0"/>
                  </a:moveTo>
                  <a:lnTo>
                    <a:pt x="29" y="0"/>
                  </a:lnTo>
                  <a:lnTo>
                    <a:pt x="43" y="0"/>
                  </a:lnTo>
                  <a:lnTo>
                    <a:pt x="43" y="14"/>
                  </a:lnTo>
                  <a:lnTo>
                    <a:pt x="29" y="14"/>
                  </a:lnTo>
                  <a:lnTo>
                    <a:pt x="14" y="1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5" name="Freeform 35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168650" y="3963988"/>
              <a:ext cx="39688" cy="12700"/>
            </a:xfrm>
            <a:custGeom>
              <a:avLst/>
              <a:gdLst>
                <a:gd name="T0" fmla="*/ 0 w 43"/>
                <a:gd name="T1" fmla="*/ 0 h 14"/>
                <a:gd name="T2" fmla="*/ 29 w 43"/>
                <a:gd name="T3" fmla="*/ 0 h 14"/>
                <a:gd name="T4" fmla="*/ 43 w 43"/>
                <a:gd name="T5" fmla="*/ 0 h 14"/>
                <a:gd name="T6" fmla="*/ 43 w 43"/>
                <a:gd name="T7" fmla="*/ 14 h 14"/>
                <a:gd name="T8" fmla="*/ 29 w 43"/>
                <a:gd name="T9" fmla="*/ 14 h 14"/>
                <a:gd name="T10" fmla="*/ 14 w 43"/>
                <a:gd name="T11" fmla="*/ 14 h 14"/>
                <a:gd name="T12" fmla="*/ 0 w 43"/>
                <a:gd name="T13" fmla="*/ 0 h 14"/>
                <a:gd name="T14" fmla="*/ 0 w 43"/>
                <a:gd name="T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14">
                  <a:moveTo>
                    <a:pt x="0" y="0"/>
                  </a:moveTo>
                  <a:lnTo>
                    <a:pt x="29" y="0"/>
                  </a:lnTo>
                  <a:lnTo>
                    <a:pt x="43" y="0"/>
                  </a:lnTo>
                  <a:lnTo>
                    <a:pt x="43" y="14"/>
                  </a:lnTo>
                  <a:lnTo>
                    <a:pt x="29" y="14"/>
                  </a:lnTo>
                  <a:lnTo>
                    <a:pt x="14" y="14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6" name="Freeform 36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062288" y="3449638"/>
              <a:ext cx="39688" cy="33338"/>
            </a:xfrm>
            <a:custGeom>
              <a:avLst/>
              <a:gdLst>
                <a:gd name="T0" fmla="*/ 0 w 42"/>
                <a:gd name="T1" fmla="*/ 29 h 43"/>
                <a:gd name="T2" fmla="*/ 13 w 42"/>
                <a:gd name="T3" fmla="*/ 14 h 43"/>
                <a:gd name="T4" fmla="*/ 29 w 42"/>
                <a:gd name="T5" fmla="*/ 0 h 43"/>
                <a:gd name="T6" fmla="*/ 42 w 42"/>
                <a:gd name="T7" fmla="*/ 14 h 43"/>
                <a:gd name="T8" fmla="*/ 42 w 42"/>
                <a:gd name="T9" fmla="*/ 29 h 43"/>
                <a:gd name="T10" fmla="*/ 13 w 42"/>
                <a:gd name="T11" fmla="*/ 43 h 43"/>
                <a:gd name="T12" fmla="*/ 0 w 42"/>
                <a:gd name="T13" fmla="*/ 29 h 43"/>
                <a:gd name="T14" fmla="*/ 0 w 42"/>
                <a:gd name="T15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3">
                  <a:moveTo>
                    <a:pt x="0" y="29"/>
                  </a:moveTo>
                  <a:lnTo>
                    <a:pt x="13" y="14"/>
                  </a:lnTo>
                  <a:lnTo>
                    <a:pt x="29" y="0"/>
                  </a:lnTo>
                  <a:lnTo>
                    <a:pt x="42" y="14"/>
                  </a:lnTo>
                  <a:lnTo>
                    <a:pt x="42" y="29"/>
                  </a:lnTo>
                  <a:lnTo>
                    <a:pt x="13" y="43"/>
                  </a:lnTo>
                  <a:lnTo>
                    <a:pt x="0" y="2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7" name="Freeform 37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747963" y="3335338"/>
              <a:ext cx="820738" cy="657225"/>
            </a:xfrm>
            <a:custGeom>
              <a:avLst/>
              <a:gdLst>
                <a:gd name="T0" fmla="*/ 71 w 835"/>
                <a:gd name="T1" fmla="*/ 690 h 804"/>
                <a:gd name="T2" fmla="*/ 157 w 835"/>
                <a:gd name="T3" fmla="*/ 632 h 804"/>
                <a:gd name="T4" fmla="*/ 186 w 835"/>
                <a:gd name="T5" fmla="*/ 618 h 804"/>
                <a:gd name="T6" fmla="*/ 228 w 835"/>
                <a:gd name="T7" fmla="*/ 632 h 804"/>
                <a:gd name="T8" fmla="*/ 287 w 835"/>
                <a:gd name="T9" fmla="*/ 645 h 804"/>
                <a:gd name="T10" fmla="*/ 343 w 835"/>
                <a:gd name="T11" fmla="*/ 618 h 804"/>
                <a:gd name="T12" fmla="*/ 401 w 835"/>
                <a:gd name="T13" fmla="*/ 587 h 804"/>
                <a:gd name="T14" fmla="*/ 372 w 835"/>
                <a:gd name="T15" fmla="*/ 576 h 804"/>
                <a:gd name="T16" fmla="*/ 358 w 835"/>
                <a:gd name="T17" fmla="*/ 517 h 804"/>
                <a:gd name="T18" fmla="*/ 389 w 835"/>
                <a:gd name="T19" fmla="*/ 475 h 804"/>
                <a:gd name="T20" fmla="*/ 416 w 835"/>
                <a:gd name="T21" fmla="*/ 417 h 804"/>
                <a:gd name="T22" fmla="*/ 416 w 835"/>
                <a:gd name="T23" fmla="*/ 360 h 804"/>
                <a:gd name="T24" fmla="*/ 459 w 835"/>
                <a:gd name="T25" fmla="*/ 345 h 804"/>
                <a:gd name="T26" fmla="*/ 430 w 835"/>
                <a:gd name="T27" fmla="*/ 316 h 804"/>
                <a:gd name="T28" fmla="*/ 459 w 835"/>
                <a:gd name="T29" fmla="*/ 273 h 804"/>
                <a:gd name="T30" fmla="*/ 502 w 835"/>
                <a:gd name="T31" fmla="*/ 244 h 804"/>
                <a:gd name="T32" fmla="*/ 446 w 835"/>
                <a:gd name="T33" fmla="*/ 228 h 804"/>
                <a:gd name="T34" fmla="*/ 446 w 835"/>
                <a:gd name="T35" fmla="*/ 172 h 804"/>
                <a:gd name="T36" fmla="*/ 475 w 835"/>
                <a:gd name="T37" fmla="*/ 102 h 804"/>
                <a:gd name="T38" fmla="*/ 517 w 835"/>
                <a:gd name="T39" fmla="*/ 87 h 804"/>
                <a:gd name="T40" fmla="*/ 560 w 835"/>
                <a:gd name="T41" fmla="*/ 71 h 804"/>
                <a:gd name="T42" fmla="*/ 589 w 835"/>
                <a:gd name="T43" fmla="*/ 42 h 804"/>
                <a:gd name="T44" fmla="*/ 618 w 835"/>
                <a:gd name="T45" fmla="*/ 29 h 804"/>
                <a:gd name="T46" fmla="*/ 674 w 835"/>
                <a:gd name="T47" fmla="*/ 42 h 804"/>
                <a:gd name="T48" fmla="*/ 674 w 835"/>
                <a:gd name="T49" fmla="*/ 116 h 804"/>
                <a:gd name="T50" fmla="*/ 661 w 835"/>
                <a:gd name="T51" fmla="*/ 186 h 804"/>
                <a:gd name="T52" fmla="*/ 705 w 835"/>
                <a:gd name="T53" fmla="*/ 215 h 804"/>
                <a:gd name="T54" fmla="*/ 719 w 835"/>
                <a:gd name="T55" fmla="*/ 273 h 804"/>
                <a:gd name="T56" fmla="*/ 690 w 835"/>
                <a:gd name="T57" fmla="*/ 345 h 804"/>
                <a:gd name="T58" fmla="*/ 719 w 835"/>
                <a:gd name="T59" fmla="*/ 374 h 804"/>
                <a:gd name="T60" fmla="*/ 735 w 835"/>
                <a:gd name="T61" fmla="*/ 430 h 804"/>
                <a:gd name="T62" fmla="*/ 690 w 835"/>
                <a:gd name="T63" fmla="*/ 475 h 804"/>
                <a:gd name="T64" fmla="*/ 719 w 835"/>
                <a:gd name="T65" fmla="*/ 502 h 804"/>
                <a:gd name="T66" fmla="*/ 791 w 835"/>
                <a:gd name="T67" fmla="*/ 502 h 804"/>
                <a:gd name="T68" fmla="*/ 835 w 835"/>
                <a:gd name="T69" fmla="*/ 576 h 804"/>
                <a:gd name="T70" fmla="*/ 791 w 835"/>
                <a:gd name="T71" fmla="*/ 645 h 804"/>
                <a:gd name="T72" fmla="*/ 748 w 835"/>
                <a:gd name="T73" fmla="*/ 661 h 804"/>
                <a:gd name="T74" fmla="*/ 719 w 835"/>
                <a:gd name="T75" fmla="*/ 674 h 804"/>
                <a:gd name="T76" fmla="*/ 674 w 835"/>
                <a:gd name="T77" fmla="*/ 690 h 804"/>
                <a:gd name="T78" fmla="*/ 690 w 835"/>
                <a:gd name="T79" fmla="*/ 733 h 804"/>
                <a:gd name="T80" fmla="*/ 748 w 835"/>
                <a:gd name="T81" fmla="*/ 733 h 804"/>
                <a:gd name="T82" fmla="*/ 719 w 835"/>
                <a:gd name="T83" fmla="*/ 775 h 804"/>
                <a:gd name="T84" fmla="*/ 661 w 835"/>
                <a:gd name="T85" fmla="*/ 789 h 804"/>
                <a:gd name="T86" fmla="*/ 589 w 835"/>
                <a:gd name="T87" fmla="*/ 775 h 804"/>
                <a:gd name="T88" fmla="*/ 517 w 835"/>
                <a:gd name="T89" fmla="*/ 775 h 804"/>
                <a:gd name="T90" fmla="*/ 475 w 835"/>
                <a:gd name="T91" fmla="*/ 746 h 804"/>
                <a:gd name="T92" fmla="*/ 416 w 835"/>
                <a:gd name="T93" fmla="*/ 760 h 804"/>
                <a:gd name="T94" fmla="*/ 343 w 835"/>
                <a:gd name="T95" fmla="*/ 760 h 804"/>
                <a:gd name="T96" fmla="*/ 300 w 835"/>
                <a:gd name="T97" fmla="*/ 717 h 804"/>
                <a:gd name="T98" fmla="*/ 242 w 835"/>
                <a:gd name="T99" fmla="*/ 704 h 804"/>
                <a:gd name="T100" fmla="*/ 213 w 835"/>
                <a:gd name="T101" fmla="*/ 760 h 804"/>
                <a:gd name="T102" fmla="*/ 143 w 835"/>
                <a:gd name="T103" fmla="*/ 733 h 804"/>
                <a:gd name="T104" fmla="*/ 71 w 835"/>
                <a:gd name="T105" fmla="*/ 733 h 804"/>
                <a:gd name="T106" fmla="*/ 27 w 835"/>
                <a:gd name="T107" fmla="*/ 746 h 804"/>
                <a:gd name="T108" fmla="*/ 27 w 835"/>
                <a:gd name="T109" fmla="*/ 717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5" h="804">
                  <a:moveTo>
                    <a:pt x="27" y="717"/>
                  </a:moveTo>
                  <a:lnTo>
                    <a:pt x="56" y="704"/>
                  </a:lnTo>
                  <a:lnTo>
                    <a:pt x="71" y="704"/>
                  </a:lnTo>
                  <a:lnTo>
                    <a:pt x="71" y="690"/>
                  </a:lnTo>
                  <a:lnTo>
                    <a:pt x="114" y="674"/>
                  </a:lnTo>
                  <a:lnTo>
                    <a:pt x="143" y="674"/>
                  </a:lnTo>
                  <a:lnTo>
                    <a:pt x="157" y="645"/>
                  </a:lnTo>
                  <a:lnTo>
                    <a:pt x="157" y="632"/>
                  </a:lnTo>
                  <a:lnTo>
                    <a:pt x="172" y="632"/>
                  </a:lnTo>
                  <a:lnTo>
                    <a:pt x="186" y="645"/>
                  </a:lnTo>
                  <a:lnTo>
                    <a:pt x="201" y="632"/>
                  </a:lnTo>
                  <a:lnTo>
                    <a:pt x="186" y="618"/>
                  </a:lnTo>
                  <a:lnTo>
                    <a:pt x="201" y="618"/>
                  </a:lnTo>
                  <a:lnTo>
                    <a:pt x="213" y="618"/>
                  </a:lnTo>
                  <a:lnTo>
                    <a:pt x="228" y="618"/>
                  </a:lnTo>
                  <a:lnTo>
                    <a:pt x="228" y="632"/>
                  </a:lnTo>
                  <a:lnTo>
                    <a:pt x="242" y="632"/>
                  </a:lnTo>
                  <a:lnTo>
                    <a:pt x="257" y="645"/>
                  </a:lnTo>
                  <a:lnTo>
                    <a:pt x="271" y="645"/>
                  </a:lnTo>
                  <a:lnTo>
                    <a:pt x="287" y="645"/>
                  </a:lnTo>
                  <a:lnTo>
                    <a:pt x="316" y="645"/>
                  </a:lnTo>
                  <a:lnTo>
                    <a:pt x="329" y="645"/>
                  </a:lnTo>
                  <a:lnTo>
                    <a:pt x="329" y="632"/>
                  </a:lnTo>
                  <a:lnTo>
                    <a:pt x="343" y="618"/>
                  </a:lnTo>
                  <a:lnTo>
                    <a:pt x="358" y="618"/>
                  </a:lnTo>
                  <a:lnTo>
                    <a:pt x="372" y="618"/>
                  </a:lnTo>
                  <a:lnTo>
                    <a:pt x="389" y="603"/>
                  </a:lnTo>
                  <a:lnTo>
                    <a:pt x="401" y="587"/>
                  </a:lnTo>
                  <a:lnTo>
                    <a:pt x="389" y="587"/>
                  </a:lnTo>
                  <a:lnTo>
                    <a:pt x="358" y="587"/>
                  </a:lnTo>
                  <a:lnTo>
                    <a:pt x="358" y="576"/>
                  </a:lnTo>
                  <a:lnTo>
                    <a:pt x="372" y="576"/>
                  </a:lnTo>
                  <a:lnTo>
                    <a:pt x="372" y="546"/>
                  </a:lnTo>
                  <a:lnTo>
                    <a:pt x="358" y="546"/>
                  </a:lnTo>
                  <a:lnTo>
                    <a:pt x="358" y="531"/>
                  </a:lnTo>
                  <a:lnTo>
                    <a:pt x="358" y="517"/>
                  </a:lnTo>
                  <a:lnTo>
                    <a:pt x="372" y="502"/>
                  </a:lnTo>
                  <a:lnTo>
                    <a:pt x="389" y="475"/>
                  </a:lnTo>
                  <a:lnTo>
                    <a:pt x="372" y="475"/>
                  </a:lnTo>
                  <a:lnTo>
                    <a:pt x="389" y="475"/>
                  </a:lnTo>
                  <a:lnTo>
                    <a:pt x="401" y="459"/>
                  </a:lnTo>
                  <a:lnTo>
                    <a:pt x="401" y="446"/>
                  </a:lnTo>
                  <a:lnTo>
                    <a:pt x="401" y="430"/>
                  </a:lnTo>
                  <a:lnTo>
                    <a:pt x="416" y="417"/>
                  </a:lnTo>
                  <a:lnTo>
                    <a:pt x="430" y="401"/>
                  </a:lnTo>
                  <a:lnTo>
                    <a:pt x="430" y="387"/>
                  </a:lnTo>
                  <a:lnTo>
                    <a:pt x="416" y="374"/>
                  </a:lnTo>
                  <a:lnTo>
                    <a:pt x="416" y="360"/>
                  </a:lnTo>
                  <a:lnTo>
                    <a:pt x="430" y="345"/>
                  </a:lnTo>
                  <a:lnTo>
                    <a:pt x="430" y="360"/>
                  </a:lnTo>
                  <a:lnTo>
                    <a:pt x="446" y="360"/>
                  </a:lnTo>
                  <a:lnTo>
                    <a:pt x="459" y="345"/>
                  </a:lnTo>
                  <a:lnTo>
                    <a:pt x="446" y="345"/>
                  </a:lnTo>
                  <a:lnTo>
                    <a:pt x="446" y="331"/>
                  </a:lnTo>
                  <a:lnTo>
                    <a:pt x="446" y="316"/>
                  </a:lnTo>
                  <a:lnTo>
                    <a:pt x="430" y="316"/>
                  </a:lnTo>
                  <a:lnTo>
                    <a:pt x="430" y="302"/>
                  </a:lnTo>
                  <a:lnTo>
                    <a:pt x="446" y="287"/>
                  </a:lnTo>
                  <a:lnTo>
                    <a:pt x="459" y="287"/>
                  </a:lnTo>
                  <a:lnTo>
                    <a:pt x="459" y="273"/>
                  </a:lnTo>
                  <a:lnTo>
                    <a:pt x="459" y="258"/>
                  </a:lnTo>
                  <a:lnTo>
                    <a:pt x="475" y="258"/>
                  </a:lnTo>
                  <a:lnTo>
                    <a:pt x="475" y="244"/>
                  </a:lnTo>
                  <a:lnTo>
                    <a:pt x="502" y="244"/>
                  </a:lnTo>
                  <a:lnTo>
                    <a:pt x="502" y="228"/>
                  </a:lnTo>
                  <a:lnTo>
                    <a:pt x="475" y="215"/>
                  </a:lnTo>
                  <a:lnTo>
                    <a:pt x="459" y="215"/>
                  </a:lnTo>
                  <a:lnTo>
                    <a:pt x="446" y="228"/>
                  </a:lnTo>
                  <a:lnTo>
                    <a:pt x="475" y="201"/>
                  </a:lnTo>
                  <a:lnTo>
                    <a:pt x="459" y="201"/>
                  </a:lnTo>
                  <a:lnTo>
                    <a:pt x="446" y="186"/>
                  </a:lnTo>
                  <a:lnTo>
                    <a:pt x="446" y="172"/>
                  </a:lnTo>
                  <a:lnTo>
                    <a:pt x="446" y="143"/>
                  </a:lnTo>
                  <a:lnTo>
                    <a:pt x="446" y="130"/>
                  </a:lnTo>
                  <a:lnTo>
                    <a:pt x="459" y="116"/>
                  </a:lnTo>
                  <a:lnTo>
                    <a:pt x="475" y="102"/>
                  </a:lnTo>
                  <a:lnTo>
                    <a:pt x="488" y="116"/>
                  </a:lnTo>
                  <a:lnTo>
                    <a:pt x="488" y="102"/>
                  </a:lnTo>
                  <a:lnTo>
                    <a:pt x="502" y="102"/>
                  </a:lnTo>
                  <a:lnTo>
                    <a:pt x="517" y="87"/>
                  </a:lnTo>
                  <a:lnTo>
                    <a:pt x="517" y="102"/>
                  </a:lnTo>
                  <a:lnTo>
                    <a:pt x="531" y="102"/>
                  </a:lnTo>
                  <a:lnTo>
                    <a:pt x="546" y="87"/>
                  </a:lnTo>
                  <a:lnTo>
                    <a:pt x="560" y="71"/>
                  </a:lnTo>
                  <a:lnTo>
                    <a:pt x="575" y="71"/>
                  </a:lnTo>
                  <a:lnTo>
                    <a:pt x="575" y="58"/>
                  </a:lnTo>
                  <a:lnTo>
                    <a:pt x="589" y="58"/>
                  </a:lnTo>
                  <a:lnTo>
                    <a:pt x="589" y="42"/>
                  </a:lnTo>
                  <a:lnTo>
                    <a:pt x="603" y="42"/>
                  </a:lnTo>
                  <a:lnTo>
                    <a:pt x="618" y="58"/>
                  </a:lnTo>
                  <a:lnTo>
                    <a:pt x="632" y="42"/>
                  </a:lnTo>
                  <a:lnTo>
                    <a:pt x="618" y="29"/>
                  </a:lnTo>
                  <a:lnTo>
                    <a:pt x="632" y="29"/>
                  </a:lnTo>
                  <a:lnTo>
                    <a:pt x="647" y="0"/>
                  </a:lnTo>
                  <a:lnTo>
                    <a:pt x="661" y="29"/>
                  </a:lnTo>
                  <a:lnTo>
                    <a:pt x="674" y="42"/>
                  </a:lnTo>
                  <a:lnTo>
                    <a:pt x="661" y="71"/>
                  </a:lnTo>
                  <a:lnTo>
                    <a:pt x="661" y="87"/>
                  </a:lnTo>
                  <a:lnTo>
                    <a:pt x="661" y="102"/>
                  </a:lnTo>
                  <a:lnTo>
                    <a:pt x="674" y="116"/>
                  </a:lnTo>
                  <a:lnTo>
                    <a:pt x="674" y="130"/>
                  </a:lnTo>
                  <a:lnTo>
                    <a:pt x="661" y="143"/>
                  </a:lnTo>
                  <a:lnTo>
                    <a:pt x="661" y="157"/>
                  </a:lnTo>
                  <a:lnTo>
                    <a:pt x="661" y="186"/>
                  </a:lnTo>
                  <a:lnTo>
                    <a:pt x="661" y="201"/>
                  </a:lnTo>
                  <a:lnTo>
                    <a:pt x="674" y="201"/>
                  </a:lnTo>
                  <a:lnTo>
                    <a:pt x="690" y="215"/>
                  </a:lnTo>
                  <a:lnTo>
                    <a:pt x="705" y="215"/>
                  </a:lnTo>
                  <a:lnTo>
                    <a:pt x="705" y="228"/>
                  </a:lnTo>
                  <a:lnTo>
                    <a:pt x="719" y="244"/>
                  </a:lnTo>
                  <a:lnTo>
                    <a:pt x="719" y="258"/>
                  </a:lnTo>
                  <a:lnTo>
                    <a:pt x="719" y="273"/>
                  </a:lnTo>
                  <a:lnTo>
                    <a:pt x="719" y="287"/>
                  </a:lnTo>
                  <a:lnTo>
                    <a:pt x="719" y="360"/>
                  </a:lnTo>
                  <a:lnTo>
                    <a:pt x="705" y="345"/>
                  </a:lnTo>
                  <a:lnTo>
                    <a:pt x="690" y="345"/>
                  </a:lnTo>
                  <a:lnTo>
                    <a:pt x="674" y="345"/>
                  </a:lnTo>
                  <a:lnTo>
                    <a:pt x="674" y="360"/>
                  </a:lnTo>
                  <a:lnTo>
                    <a:pt x="690" y="360"/>
                  </a:lnTo>
                  <a:lnTo>
                    <a:pt x="719" y="374"/>
                  </a:lnTo>
                  <a:lnTo>
                    <a:pt x="719" y="387"/>
                  </a:lnTo>
                  <a:lnTo>
                    <a:pt x="735" y="401"/>
                  </a:lnTo>
                  <a:lnTo>
                    <a:pt x="735" y="417"/>
                  </a:lnTo>
                  <a:lnTo>
                    <a:pt x="735" y="430"/>
                  </a:lnTo>
                  <a:lnTo>
                    <a:pt x="735" y="446"/>
                  </a:lnTo>
                  <a:lnTo>
                    <a:pt x="719" y="459"/>
                  </a:lnTo>
                  <a:lnTo>
                    <a:pt x="705" y="475"/>
                  </a:lnTo>
                  <a:lnTo>
                    <a:pt x="690" y="475"/>
                  </a:lnTo>
                  <a:lnTo>
                    <a:pt x="690" y="488"/>
                  </a:lnTo>
                  <a:lnTo>
                    <a:pt x="690" y="502"/>
                  </a:lnTo>
                  <a:lnTo>
                    <a:pt x="705" y="517"/>
                  </a:lnTo>
                  <a:lnTo>
                    <a:pt x="719" y="502"/>
                  </a:lnTo>
                  <a:lnTo>
                    <a:pt x="735" y="502"/>
                  </a:lnTo>
                  <a:lnTo>
                    <a:pt x="748" y="488"/>
                  </a:lnTo>
                  <a:lnTo>
                    <a:pt x="764" y="502"/>
                  </a:lnTo>
                  <a:lnTo>
                    <a:pt x="791" y="502"/>
                  </a:lnTo>
                  <a:lnTo>
                    <a:pt x="820" y="517"/>
                  </a:lnTo>
                  <a:lnTo>
                    <a:pt x="835" y="531"/>
                  </a:lnTo>
                  <a:lnTo>
                    <a:pt x="835" y="560"/>
                  </a:lnTo>
                  <a:lnTo>
                    <a:pt x="835" y="576"/>
                  </a:lnTo>
                  <a:lnTo>
                    <a:pt x="820" y="603"/>
                  </a:lnTo>
                  <a:lnTo>
                    <a:pt x="820" y="618"/>
                  </a:lnTo>
                  <a:lnTo>
                    <a:pt x="806" y="632"/>
                  </a:lnTo>
                  <a:lnTo>
                    <a:pt x="791" y="645"/>
                  </a:lnTo>
                  <a:lnTo>
                    <a:pt x="777" y="645"/>
                  </a:lnTo>
                  <a:lnTo>
                    <a:pt x="764" y="645"/>
                  </a:lnTo>
                  <a:lnTo>
                    <a:pt x="764" y="661"/>
                  </a:lnTo>
                  <a:lnTo>
                    <a:pt x="748" y="661"/>
                  </a:lnTo>
                  <a:lnTo>
                    <a:pt x="735" y="661"/>
                  </a:lnTo>
                  <a:lnTo>
                    <a:pt x="719" y="661"/>
                  </a:lnTo>
                  <a:lnTo>
                    <a:pt x="705" y="674"/>
                  </a:lnTo>
                  <a:lnTo>
                    <a:pt x="719" y="674"/>
                  </a:lnTo>
                  <a:lnTo>
                    <a:pt x="719" y="690"/>
                  </a:lnTo>
                  <a:lnTo>
                    <a:pt x="705" y="704"/>
                  </a:lnTo>
                  <a:lnTo>
                    <a:pt x="690" y="690"/>
                  </a:lnTo>
                  <a:lnTo>
                    <a:pt x="674" y="690"/>
                  </a:lnTo>
                  <a:lnTo>
                    <a:pt x="661" y="690"/>
                  </a:lnTo>
                  <a:lnTo>
                    <a:pt x="661" y="704"/>
                  </a:lnTo>
                  <a:lnTo>
                    <a:pt x="674" y="717"/>
                  </a:lnTo>
                  <a:lnTo>
                    <a:pt x="690" y="733"/>
                  </a:lnTo>
                  <a:lnTo>
                    <a:pt x="705" y="733"/>
                  </a:lnTo>
                  <a:lnTo>
                    <a:pt x="719" y="746"/>
                  </a:lnTo>
                  <a:lnTo>
                    <a:pt x="735" y="733"/>
                  </a:lnTo>
                  <a:lnTo>
                    <a:pt x="748" y="733"/>
                  </a:lnTo>
                  <a:lnTo>
                    <a:pt x="764" y="746"/>
                  </a:lnTo>
                  <a:lnTo>
                    <a:pt x="748" y="760"/>
                  </a:lnTo>
                  <a:lnTo>
                    <a:pt x="735" y="775"/>
                  </a:lnTo>
                  <a:lnTo>
                    <a:pt x="719" y="775"/>
                  </a:lnTo>
                  <a:lnTo>
                    <a:pt x="705" y="789"/>
                  </a:lnTo>
                  <a:lnTo>
                    <a:pt x="690" y="804"/>
                  </a:lnTo>
                  <a:lnTo>
                    <a:pt x="674" y="789"/>
                  </a:lnTo>
                  <a:lnTo>
                    <a:pt x="661" y="789"/>
                  </a:lnTo>
                  <a:lnTo>
                    <a:pt x="632" y="804"/>
                  </a:lnTo>
                  <a:lnTo>
                    <a:pt x="618" y="789"/>
                  </a:lnTo>
                  <a:lnTo>
                    <a:pt x="603" y="789"/>
                  </a:lnTo>
                  <a:lnTo>
                    <a:pt x="589" y="775"/>
                  </a:lnTo>
                  <a:lnTo>
                    <a:pt x="575" y="775"/>
                  </a:lnTo>
                  <a:lnTo>
                    <a:pt x="560" y="775"/>
                  </a:lnTo>
                  <a:lnTo>
                    <a:pt x="546" y="775"/>
                  </a:lnTo>
                  <a:lnTo>
                    <a:pt x="517" y="775"/>
                  </a:lnTo>
                  <a:lnTo>
                    <a:pt x="517" y="760"/>
                  </a:lnTo>
                  <a:lnTo>
                    <a:pt x="502" y="760"/>
                  </a:lnTo>
                  <a:lnTo>
                    <a:pt x="488" y="760"/>
                  </a:lnTo>
                  <a:lnTo>
                    <a:pt x="475" y="746"/>
                  </a:lnTo>
                  <a:lnTo>
                    <a:pt x="459" y="733"/>
                  </a:lnTo>
                  <a:lnTo>
                    <a:pt x="446" y="746"/>
                  </a:lnTo>
                  <a:lnTo>
                    <a:pt x="446" y="760"/>
                  </a:lnTo>
                  <a:lnTo>
                    <a:pt x="416" y="760"/>
                  </a:lnTo>
                  <a:lnTo>
                    <a:pt x="401" y="746"/>
                  </a:lnTo>
                  <a:lnTo>
                    <a:pt x="372" y="746"/>
                  </a:lnTo>
                  <a:lnTo>
                    <a:pt x="358" y="760"/>
                  </a:lnTo>
                  <a:lnTo>
                    <a:pt x="343" y="760"/>
                  </a:lnTo>
                  <a:lnTo>
                    <a:pt x="343" y="746"/>
                  </a:lnTo>
                  <a:lnTo>
                    <a:pt x="329" y="733"/>
                  </a:lnTo>
                  <a:lnTo>
                    <a:pt x="316" y="717"/>
                  </a:lnTo>
                  <a:lnTo>
                    <a:pt x="300" y="717"/>
                  </a:lnTo>
                  <a:lnTo>
                    <a:pt x="287" y="717"/>
                  </a:lnTo>
                  <a:lnTo>
                    <a:pt x="271" y="717"/>
                  </a:lnTo>
                  <a:lnTo>
                    <a:pt x="257" y="717"/>
                  </a:lnTo>
                  <a:lnTo>
                    <a:pt x="242" y="704"/>
                  </a:lnTo>
                  <a:lnTo>
                    <a:pt x="228" y="717"/>
                  </a:lnTo>
                  <a:lnTo>
                    <a:pt x="228" y="733"/>
                  </a:lnTo>
                  <a:lnTo>
                    <a:pt x="228" y="746"/>
                  </a:lnTo>
                  <a:lnTo>
                    <a:pt x="213" y="760"/>
                  </a:lnTo>
                  <a:lnTo>
                    <a:pt x="186" y="760"/>
                  </a:lnTo>
                  <a:lnTo>
                    <a:pt x="172" y="746"/>
                  </a:lnTo>
                  <a:lnTo>
                    <a:pt x="172" y="733"/>
                  </a:lnTo>
                  <a:lnTo>
                    <a:pt x="143" y="733"/>
                  </a:lnTo>
                  <a:lnTo>
                    <a:pt x="114" y="717"/>
                  </a:lnTo>
                  <a:lnTo>
                    <a:pt x="85" y="733"/>
                  </a:lnTo>
                  <a:lnTo>
                    <a:pt x="71" y="746"/>
                  </a:lnTo>
                  <a:lnTo>
                    <a:pt x="71" y="733"/>
                  </a:lnTo>
                  <a:lnTo>
                    <a:pt x="56" y="733"/>
                  </a:lnTo>
                  <a:lnTo>
                    <a:pt x="56" y="746"/>
                  </a:lnTo>
                  <a:lnTo>
                    <a:pt x="40" y="746"/>
                  </a:lnTo>
                  <a:lnTo>
                    <a:pt x="27" y="746"/>
                  </a:lnTo>
                  <a:lnTo>
                    <a:pt x="27" y="717"/>
                  </a:lnTo>
                  <a:lnTo>
                    <a:pt x="13" y="717"/>
                  </a:lnTo>
                  <a:lnTo>
                    <a:pt x="0" y="717"/>
                  </a:lnTo>
                  <a:lnTo>
                    <a:pt x="27" y="717"/>
                  </a:lnTo>
                  <a:lnTo>
                    <a:pt x="27" y="717"/>
                  </a:lnTo>
                  <a:lnTo>
                    <a:pt x="27" y="717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8" name="Freeform 38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879725" y="3597276"/>
              <a:ext cx="296863" cy="231775"/>
            </a:xfrm>
            <a:custGeom>
              <a:avLst/>
              <a:gdLst>
                <a:gd name="T0" fmla="*/ 274 w 303"/>
                <a:gd name="T1" fmla="*/ 29 h 287"/>
                <a:gd name="T2" fmla="*/ 260 w 303"/>
                <a:gd name="T3" fmla="*/ 15 h 287"/>
                <a:gd name="T4" fmla="*/ 245 w 303"/>
                <a:gd name="T5" fmla="*/ 0 h 287"/>
                <a:gd name="T6" fmla="*/ 187 w 303"/>
                <a:gd name="T7" fmla="*/ 15 h 287"/>
                <a:gd name="T8" fmla="*/ 144 w 303"/>
                <a:gd name="T9" fmla="*/ 29 h 287"/>
                <a:gd name="T10" fmla="*/ 115 w 303"/>
                <a:gd name="T11" fmla="*/ 44 h 287"/>
                <a:gd name="T12" fmla="*/ 130 w 303"/>
                <a:gd name="T13" fmla="*/ 58 h 287"/>
                <a:gd name="T14" fmla="*/ 159 w 303"/>
                <a:gd name="T15" fmla="*/ 58 h 287"/>
                <a:gd name="T16" fmla="*/ 187 w 303"/>
                <a:gd name="T17" fmla="*/ 44 h 287"/>
                <a:gd name="T18" fmla="*/ 171 w 303"/>
                <a:gd name="T19" fmla="*/ 71 h 287"/>
                <a:gd name="T20" fmla="*/ 171 w 303"/>
                <a:gd name="T21" fmla="*/ 100 h 287"/>
                <a:gd name="T22" fmla="*/ 171 w 303"/>
                <a:gd name="T23" fmla="*/ 116 h 287"/>
                <a:gd name="T24" fmla="*/ 144 w 303"/>
                <a:gd name="T25" fmla="*/ 130 h 287"/>
                <a:gd name="T26" fmla="*/ 115 w 303"/>
                <a:gd name="T27" fmla="*/ 159 h 287"/>
                <a:gd name="T28" fmla="*/ 86 w 303"/>
                <a:gd name="T29" fmla="*/ 159 h 287"/>
                <a:gd name="T30" fmla="*/ 59 w 303"/>
                <a:gd name="T31" fmla="*/ 159 h 287"/>
                <a:gd name="T32" fmla="*/ 27 w 303"/>
                <a:gd name="T33" fmla="*/ 143 h 287"/>
                <a:gd name="T34" fmla="*/ 14 w 303"/>
                <a:gd name="T35" fmla="*/ 174 h 287"/>
                <a:gd name="T36" fmla="*/ 27 w 303"/>
                <a:gd name="T37" fmla="*/ 188 h 287"/>
                <a:gd name="T38" fmla="*/ 43 w 303"/>
                <a:gd name="T39" fmla="*/ 201 h 287"/>
                <a:gd name="T40" fmla="*/ 27 w 303"/>
                <a:gd name="T41" fmla="*/ 215 h 287"/>
                <a:gd name="T42" fmla="*/ 72 w 303"/>
                <a:gd name="T43" fmla="*/ 201 h 287"/>
                <a:gd name="T44" fmla="*/ 101 w 303"/>
                <a:gd name="T45" fmla="*/ 201 h 287"/>
                <a:gd name="T46" fmla="*/ 101 w 303"/>
                <a:gd name="T47" fmla="*/ 230 h 287"/>
                <a:gd name="T48" fmla="*/ 101 w 303"/>
                <a:gd name="T49" fmla="*/ 230 h 287"/>
                <a:gd name="T50" fmla="*/ 130 w 303"/>
                <a:gd name="T51" fmla="*/ 244 h 287"/>
                <a:gd name="T52" fmla="*/ 130 w 303"/>
                <a:gd name="T53" fmla="*/ 259 h 287"/>
                <a:gd name="T54" fmla="*/ 159 w 303"/>
                <a:gd name="T55" fmla="*/ 287 h 287"/>
                <a:gd name="T56" fmla="*/ 202 w 303"/>
                <a:gd name="T57" fmla="*/ 287 h 287"/>
                <a:gd name="T58" fmla="*/ 231 w 303"/>
                <a:gd name="T59" fmla="*/ 273 h 287"/>
                <a:gd name="T60" fmla="*/ 245 w 303"/>
                <a:gd name="T61" fmla="*/ 259 h 287"/>
                <a:gd name="T62" fmla="*/ 231 w 303"/>
                <a:gd name="T63" fmla="*/ 230 h 287"/>
                <a:gd name="T64" fmla="*/ 231 w 303"/>
                <a:gd name="T65" fmla="*/ 201 h 287"/>
                <a:gd name="T66" fmla="*/ 260 w 303"/>
                <a:gd name="T67" fmla="*/ 159 h 287"/>
                <a:gd name="T68" fmla="*/ 260 w 303"/>
                <a:gd name="T69" fmla="*/ 159 h 287"/>
                <a:gd name="T70" fmla="*/ 274 w 303"/>
                <a:gd name="T71" fmla="*/ 130 h 287"/>
                <a:gd name="T72" fmla="*/ 289 w 303"/>
                <a:gd name="T73" fmla="*/ 100 h 287"/>
                <a:gd name="T74" fmla="*/ 303 w 303"/>
                <a:gd name="T75" fmla="*/ 71 h 287"/>
                <a:gd name="T76" fmla="*/ 289 w 303"/>
                <a:gd name="T77" fmla="*/ 44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03" h="287">
                  <a:moveTo>
                    <a:pt x="289" y="44"/>
                  </a:moveTo>
                  <a:lnTo>
                    <a:pt x="274" y="29"/>
                  </a:lnTo>
                  <a:lnTo>
                    <a:pt x="274" y="15"/>
                  </a:lnTo>
                  <a:lnTo>
                    <a:pt x="260" y="15"/>
                  </a:lnTo>
                  <a:lnTo>
                    <a:pt x="245" y="15"/>
                  </a:lnTo>
                  <a:lnTo>
                    <a:pt x="245" y="0"/>
                  </a:lnTo>
                  <a:lnTo>
                    <a:pt x="202" y="15"/>
                  </a:lnTo>
                  <a:lnTo>
                    <a:pt x="187" y="15"/>
                  </a:lnTo>
                  <a:lnTo>
                    <a:pt x="171" y="29"/>
                  </a:lnTo>
                  <a:lnTo>
                    <a:pt x="144" y="29"/>
                  </a:lnTo>
                  <a:lnTo>
                    <a:pt x="130" y="44"/>
                  </a:lnTo>
                  <a:lnTo>
                    <a:pt x="115" y="44"/>
                  </a:lnTo>
                  <a:lnTo>
                    <a:pt x="115" y="58"/>
                  </a:lnTo>
                  <a:lnTo>
                    <a:pt x="130" y="58"/>
                  </a:lnTo>
                  <a:lnTo>
                    <a:pt x="144" y="44"/>
                  </a:lnTo>
                  <a:lnTo>
                    <a:pt x="159" y="58"/>
                  </a:lnTo>
                  <a:lnTo>
                    <a:pt x="171" y="44"/>
                  </a:lnTo>
                  <a:lnTo>
                    <a:pt x="187" y="44"/>
                  </a:lnTo>
                  <a:lnTo>
                    <a:pt x="187" y="58"/>
                  </a:lnTo>
                  <a:lnTo>
                    <a:pt x="171" y="71"/>
                  </a:lnTo>
                  <a:lnTo>
                    <a:pt x="171" y="85"/>
                  </a:lnTo>
                  <a:lnTo>
                    <a:pt x="171" y="100"/>
                  </a:lnTo>
                  <a:lnTo>
                    <a:pt x="159" y="100"/>
                  </a:lnTo>
                  <a:lnTo>
                    <a:pt x="171" y="116"/>
                  </a:lnTo>
                  <a:lnTo>
                    <a:pt x="159" y="130"/>
                  </a:lnTo>
                  <a:lnTo>
                    <a:pt x="144" y="130"/>
                  </a:lnTo>
                  <a:lnTo>
                    <a:pt x="130" y="143"/>
                  </a:lnTo>
                  <a:lnTo>
                    <a:pt x="115" y="159"/>
                  </a:lnTo>
                  <a:lnTo>
                    <a:pt x="101" y="143"/>
                  </a:lnTo>
                  <a:lnTo>
                    <a:pt x="86" y="159"/>
                  </a:lnTo>
                  <a:lnTo>
                    <a:pt x="72" y="159"/>
                  </a:lnTo>
                  <a:lnTo>
                    <a:pt x="59" y="159"/>
                  </a:lnTo>
                  <a:lnTo>
                    <a:pt x="43" y="159"/>
                  </a:lnTo>
                  <a:lnTo>
                    <a:pt x="27" y="143"/>
                  </a:lnTo>
                  <a:lnTo>
                    <a:pt x="14" y="159"/>
                  </a:lnTo>
                  <a:lnTo>
                    <a:pt x="14" y="174"/>
                  </a:lnTo>
                  <a:lnTo>
                    <a:pt x="0" y="188"/>
                  </a:lnTo>
                  <a:lnTo>
                    <a:pt x="27" y="188"/>
                  </a:lnTo>
                  <a:lnTo>
                    <a:pt x="43" y="188"/>
                  </a:lnTo>
                  <a:lnTo>
                    <a:pt x="43" y="201"/>
                  </a:lnTo>
                  <a:lnTo>
                    <a:pt x="27" y="201"/>
                  </a:lnTo>
                  <a:lnTo>
                    <a:pt x="27" y="215"/>
                  </a:lnTo>
                  <a:lnTo>
                    <a:pt x="59" y="215"/>
                  </a:lnTo>
                  <a:lnTo>
                    <a:pt x="72" y="201"/>
                  </a:lnTo>
                  <a:lnTo>
                    <a:pt x="86" y="201"/>
                  </a:lnTo>
                  <a:lnTo>
                    <a:pt x="101" y="201"/>
                  </a:lnTo>
                  <a:lnTo>
                    <a:pt x="101" y="215"/>
                  </a:lnTo>
                  <a:lnTo>
                    <a:pt x="101" y="230"/>
                  </a:lnTo>
                  <a:lnTo>
                    <a:pt x="115" y="230"/>
                  </a:lnTo>
                  <a:lnTo>
                    <a:pt x="101" y="230"/>
                  </a:lnTo>
                  <a:lnTo>
                    <a:pt x="101" y="244"/>
                  </a:lnTo>
                  <a:lnTo>
                    <a:pt x="130" y="244"/>
                  </a:lnTo>
                  <a:lnTo>
                    <a:pt x="144" y="244"/>
                  </a:lnTo>
                  <a:lnTo>
                    <a:pt x="130" y="259"/>
                  </a:lnTo>
                  <a:lnTo>
                    <a:pt x="144" y="273"/>
                  </a:lnTo>
                  <a:lnTo>
                    <a:pt x="159" y="287"/>
                  </a:lnTo>
                  <a:lnTo>
                    <a:pt x="171" y="287"/>
                  </a:lnTo>
                  <a:lnTo>
                    <a:pt x="202" y="287"/>
                  </a:lnTo>
                  <a:lnTo>
                    <a:pt x="216" y="287"/>
                  </a:lnTo>
                  <a:lnTo>
                    <a:pt x="231" y="273"/>
                  </a:lnTo>
                  <a:lnTo>
                    <a:pt x="231" y="259"/>
                  </a:lnTo>
                  <a:lnTo>
                    <a:pt x="245" y="259"/>
                  </a:lnTo>
                  <a:lnTo>
                    <a:pt x="245" y="230"/>
                  </a:lnTo>
                  <a:lnTo>
                    <a:pt x="231" y="230"/>
                  </a:lnTo>
                  <a:lnTo>
                    <a:pt x="231" y="215"/>
                  </a:lnTo>
                  <a:lnTo>
                    <a:pt x="231" y="201"/>
                  </a:lnTo>
                  <a:lnTo>
                    <a:pt x="245" y="188"/>
                  </a:lnTo>
                  <a:lnTo>
                    <a:pt x="260" y="159"/>
                  </a:lnTo>
                  <a:lnTo>
                    <a:pt x="245" y="159"/>
                  </a:lnTo>
                  <a:lnTo>
                    <a:pt x="260" y="159"/>
                  </a:lnTo>
                  <a:lnTo>
                    <a:pt x="274" y="143"/>
                  </a:lnTo>
                  <a:lnTo>
                    <a:pt x="274" y="130"/>
                  </a:lnTo>
                  <a:lnTo>
                    <a:pt x="274" y="116"/>
                  </a:lnTo>
                  <a:lnTo>
                    <a:pt x="289" y="100"/>
                  </a:lnTo>
                  <a:lnTo>
                    <a:pt x="303" y="85"/>
                  </a:lnTo>
                  <a:lnTo>
                    <a:pt x="303" y="71"/>
                  </a:lnTo>
                  <a:lnTo>
                    <a:pt x="289" y="58"/>
                  </a:lnTo>
                  <a:lnTo>
                    <a:pt x="289" y="44"/>
                  </a:lnTo>
                  <a:lnTo>
                    <a:pt x="289" y="44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9" name="Freeform 39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074988" y="2938463"/>
              <a:ext cx="407988" cy="481013"/>
            </a:xfrm>
            <a:custGeom>
              <a:avLst/>
              <a:gdLst>
                <a:gd name="T0" fmla="*/ 173 w 419"/>
                <a:gd name="T1" fmla="*/ 574 h 589"/>
                <a:gd name="T2" fmla="*/ 130 w 419"/>
                <a:gd name="T3" fmla="*/ 560 h 589"/>
                <a:gd name="T4" fmla="*/ 115 w 419"/>
                <a:gd name="T5" fmla="*/ 560 h 589"/>
                <a:gd name="T6" fmla="*/ 72 w 419"/>
                <a:gd name="T7" fmla="*/ 545 h 589"/>
                <a:gd name="T8" fmla="*/ 58 w 419"/>
                <a:gd name="T9" fmla="*/ 589 h 589"/>
                <a:gd name="T10" fmla="*/ 29 w 419"/>
                <a:gd name="T11" fmla="*/ 545 h 589"/>
                <a:gd name="T12" fmla="*/ 14 w 419"/>
                <a:gd name="T13" fmla="*/ 574 h 589"/>
                <a:gd name="T14" fmla="*/ 0 w 419"/>
                <a:gd name="T15" fmla="*/ 531 h 589"/>
                <a:gd name="T16" fmla="*/ 14 w 419"/>
                <a:gd name="T17" fmla="*/ 502 h 589"/>
                <a:gd name="T18" fmla="*/ 43 w 419"/>
                <a:gd name="T19" fmla="*/ 473 h 589"/>
                <a:gd name="T20" fmla="*/ 87 w 419"/>
                <a:gd name="T21" fmla="*/ 444 h 589"/>
                <a:gd name="T22" fmla="*/ 115 w 419"/>
                <a:gd name="T23" fmla="*/ 417 h 589"/>
                <a:gd name="T24" fmla="*/ 87 w 419"/>
                <a:gd name="T25" fmla="*/ 388 h 589"/>
                <a:gd name="T26" fmla="*/ 58 w 419"/>
                <a:gd name="T27" fmla="*/ 374 h 589"/>
                <a:gd name="T28" fmla="*/ 87 w 419"/>
                <a:gd name="T29" fmla="*/ 343 h 589"/>
                <a:gd name="T30" fmla="*/ 43 w 419"/>
                <a:gd name="T31" fmla="*/ 358 h 589"/>
                <a:gd name="T32" fmla="*/ 29 w 419"/>
                <a:gd name="T33" fmla="*/ 343 h 589"/>
                <a:gd name="T34" fmla="*/ 72 w 419"/>
                <a:gd name="T35" fmla="*/ 302 h 589"/>
                <a:gd name="T36" fmla="*/ 72 w 419"/>
                <a:gd name="T37" fmla="*/ 287 h 589"/>
                <a:gd name="T38" fmla="*/ 115 w 419"/>
                <a:gd name="T39" fmla="*/ 244 h 589"/>
                <a:gd name="T40" fmla="*/ 72 w 419"/>
                <a:gd name="T41" fmla="*/ 258 h 589"/>
                <a:gd name="T42" fmla="*/ 29 w 419"/>
                <a:gd name="T43" fmla="*/ 258 h 589"/>
                <a:gd name="T44" fmla="*/ 58 w 419"/>
                <a:gd name="T45" fmla="*/ 215 h 589"/>
                <a:gd name="T46" fmla="*/ 87 w 419"/>
                <a:gd name="T47" fmla="*/ 186 h 589"/>
                <a:gd name="T48" fmla="*/ 115 w 419"/>
                <a:gd name="T49" fmla="*/ 157 h 589"/>
                <a:gd name="T50" fmla="*/ 101 w 419"/>
                <a:gd name="T51" fmla="*/ 143 h 589"/>
                <a:gd name="T52" fmla="*/ 101 w 419"/>
                <a:gd name="T53" fmla="*/ 101 h 589"/>
                <a:gd name="T54" fmla="*/ 144 w 419"/>
                <a:gd name="T55" fmla="*/ 85 h 589"/>
                <a:gd name="T56" fmla="*/ 173 w 419"/>
                <a:gd name="T57" fmla="*/ 114 h 589"/>
                <a:gd name="T58" fmla="*/ 157 w 419"/>
                <a:gd name="T59" fmla="*/ 71 h 589"/>
                <a:gd name="T60" fmla="*/ 173 w 419"/>
                <a:gd name="T61" fmla="*/ 42 h 589"/>
                <a:gd name="T62" fmla="*/ 202 w 419"/>
                <a:gd name="T63" fmla="*/ 42 h 589"/>
                <a:gd name="T64" fmla="*/ 231 w 419"/>
                <a:gd name="T65" fmla="*/ 0 h 589"/>
                <a:gd name="T66" fmla="*/ 258 w 419"/>
                <a:gd name="T67" fmla="*/ 29 h 589"/>
                <a:gd name="T68" fmla="*/ 303 w 419"/>
                <a:gd name="T69" fmla="*/ 42 h 589"/>
                <a:gd name="T70" fmla="*/ 345 w 419"/>
                <a:gd name="T71" fmla="*/ 42 h 589"/>
                <a:gd name="T72" fmla="*/ 361 w 419"/>
                <a:gd name="T73" fmla="*/ 71 h 589"/>
                <a:gd name="T74" fmla="*/ 318 w 419"/>
                <a:gd name="T75" fmla="*/ 101 h 589"/>
                <a:gd name="T76" fmla="*/ 274 w 419"/>
                <a:gd name="T77" fmla="*/ 114 h 589"/>
                <a:gd name="T78" fmla="*/ 245 w 419"/>
                <a:gd name="T79" fmla="*/ 143 h 589"/>
                <a:gd name="T80" fmla="*/ 231 w 419"/>
                <a:gd name="T81" fmla="*/ 172 h 589"/>
                <a:gd name="T82" fmla="*/ 215 w 419"/>
                <a:gd name="T83" fmla="*/ 199 h 589"/>
                <a:gd name="T84" fmla="*/ 274 w 419"/>
                <a:gd name="T85" fmla="*/ 186 h 589"/>
                <a:gd name="T86" fmla="*/ 345 w 419"/>
                <a:gd name="T87" fmla="*/ 186 h 589"/>
                <a:gd name="T88" fmla="*/ 376 w 419"/>
                <a:gd name="T89" fmla="*/ 215 h 589"/>
                <a:gd name="T90" fmla="*/ 419 w 419"/>
                <a:gd name="T91" fmla="*/ 215 h 589"/>
                <a:gd name="T92" fmla="*/ 406 w 419"/>
                <a:gd name="T93" fmla="*/ 258 h 589"/>
                <a:gd name="T94" fmla="*/ 376 w 419"/>
                <a:gd name="T95" fmla="*/ 273 h 589"/>
                <a:gd name="T96" fmla="*/ 376 w 419"/>
                <a:gd name="T97" fmla="*/ 316 h 589"/>
                <a:gd name="T98" fmla="*/ 332 w 419"/>
                <a:gd name="T99" fmla="*/ 358 h 589"/>
                <a:gd name="T100" fmla="*/ 289 w 419"/>
                <a:gd name="T101" fmla="*/ 358 h 589"/>
                <a:gd name="T102" fmla="*/ 245 w 419"/>
                <a:gd name="T103" fmla="*/ 374 h 589"/>
                <a:gd name="T104" fmla="*/ 289 w 419"/>
                <a:gd name="T105" fmla="*/ 388 h 589"/>
                <a:gd name="T106" fmla="*/ 245 w 419"/>
                <a:gd name="T107" fmla="*/ 417 h 589"/>
                <a:gd name="T108" fmla="*/ 202 w 419"/>
                <a:gd name="T109" fmla="*/ 401 h 589"/>
                <a:gd name="T110" fmla="*/ 202 w 419"/>
                <a:gd name="T111" fmla="*/ 417 h 589"/>
                <a:gd name="T112" fmla="*/ 258 w 419"/>
                <a:gd name="T113" fmla="*/ 430 h 589"/>
                <a:gd name="T114" fmla="*/ 303 w 419"/>
                <a:gd name="T115" fmla="*/ 459 h 589"/>
                <a:gd name="T116" fmla="*/ 289 w 419"/>
                <a:gd name="T117" fmla="*/ 517 h 589"/>
                <a:gd name="T118" fmla="*/ 274 w 419"/>
                <a:gd name="T119" fmla="*/ 531 h 589"/>
                <a:gd name="T120" fmla="*/ 245 w 419"/>
                <a:gd name="T121" fmla="*/ 545 h 589"/>
                <a:gd name="T122" fmla="*/ 215 w 419"/>
                <a:gd name="T123" fmla="*/ 574 h 589"/>
                <a:gd name="T124" fmla="*/ 186 w 419"/>
                <a:gd name="T125" fmla="*/ 574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9" h="589">
                  <a:moveTo>
                    <a:pt x="186" y="574"/>
                  </a:moveTo>
                  <a:lnTo>
                    <a:pt x="186" y="560"/>
                  </a:lnTo>
                  <a:lnTo>
                    <a:pt x="173" y="574"/>
                  </a:lnTo>
                  <a:lnTo>
                    <a:pt x="157" y="574"/>
                  </a:lnTo>
                  <a:lnTo>
                    <a:pt x="144" y="560"/>
                  </a:lnTo>
                  <a:lnTo>
                    <a:pt x="130" y="560"/>
                  </a:lnTo>
                  <a:lnTo>
                    <a:pt x="130" y="574"/>
                  </a:lnTo>
                  <a:lnTo>
                    <a:pt x="115" y="574"/>
                  </a:lnTo>
                  <a:lnTo>
                    <a:pt x="115" y="560"/>
                  </a:lnTo>
                  <a:lnTo>
                    <a:pt x="87" y="574"/>
                  </a:lnTo>
                  <a:lnTo>
                    <a:pt x="87" y="560"/>
                  </a:lnTo>
                  <a:lnTo>
                    <a:pt x="72" y="545"/>
                  </a:lnTo>
                  <a:lnTo>
                    <a:pt x="58" y="560"/>
                  </a:lnTo>
                  <a:lnTo>
                    <a:pt x="58" y="574"/>
                  </a:lnTo>
                  <a:lnTo>
                    <a:pt x="58" y="589"/>
                  </a:lnTo>
                  <a:lnTo>
                    <a:pt x="43" y="574"/>
                  </a:lnTo>
                  <a:lnTo>
                    <a:pt x="43" y="560"/>
                  </a:lnTo>
                  <a:lnTo>
                    <a:pt x="29" y="545"/>
                  </a:lnTo>
                  <a:lnTo>
                    <a:pt x="14" y="545"/>
                  </a:lnTo>
                  <a:lnTo>
                    <a:pt x="14" y="560"/>
                  </a:lnTo>
                  <a:lnTo>
                    <a:pt x="14" y="574"/>
                  </a:lnTo>
                  <a:lnTo>
                    <a:pt x="0" y="574"/>
                  </a:lnTo>
                  <a:lnTo>
                    <a:pt x="0" y="560"/>
                  </a:lnTo>
                  <a:lnTo>
                    <a:pt x="0" y="531"/>
                  </a:lnTo>
                  <a:lnTo>
                    <a:pt x="0" y="517"/>
                  </a:lnTo>
                  <a:lnTo>
                    <a:pt x="14" y="517"/>
                  </a:lnTo>
                  <a:lnTo>
                    <a:pt x="14" y="502"/>
                  </a:lnTo>
                  <a:lnTo>
                    <a:pt x="29" y="502"/>
                  </a:lnTo>
                  <a:lnTo>
                    <a:pt x="43" y="488"/>
                  </a:lnTo>
                  <a:lnTo>
                    <a:pt x="43" y="473"/>
                  </a:lnTo>
                  <a:lnTo>
                    <a:pt x="58" y="473"/>
                  </a:lnTo>
                  <a:lnTo>
                    <a:pt x="72" y="459"/>
                  </a:lnTo>
                  <a:lnTo>
                    <a:pt x="87" y="444"/>
                  </a:lnTo>
                  <a:lnTo>
                    <a:pt x="101" y="430"/>
                  </a:lnTo>
                  <a:lnTo>
                    <a:pt x="101" y="417"/>
                  </a:lnTo>
                  <a:lnTo>
                    <a:pt x="115" y="417"/>
                  </a:lnTo>
                  <a:lnTo>
                    <a:pt x="115" y="401"/>
                  </a:lnTo>
                  <a:lnTo>
                    <a:pt x="101" y="401"/>
                  </a:lnTo>
                  <a:lnTo>
                    <a:pt x="87" y="388"/>
                  </a:lnTo>
                  <a:lnTo>
                    <a:pt x="72" y="388"/>
                  </a:lnTo>
                  <a:lnTo>
                    <a:pt x="58" y="388"/>
                  </a:lnTo>
                  <a:lnTo>
                    <a:pt x="58" y="374"/>
                  </a:lnTo>
                  <a:lnTo>
                    <a:pt x="72" y="374"/>
                  </a:lnTo>
                  <a:lnTo>
                    <a:pt x="87" y="358"/>
                  </a:lnTo>
                  <a:lnTo>
                    <a:pt x="87" y="343"/>
                  </a:lnTo>
                  <a:lnTo>
                    <a:pt x="72" y="331"/>
                  </a:lnTo>
                  <a:lnTo>
                    <a:pt x="58" y="331"/>
                  </a:lnTo>
                  <a:lnTo>
                    <a:pt x="43" y="358"/>
                  </a:lnTo>
                  <a:lnTo>
                    <a:pt x="29" y="374"/>
                  </a:lnTo>
                  <a:lnTo>
                    <a:pt x="29" y="358"/>
                  </a:lnTo>
                  <a:lnTo>
                    <a:pt x="29" y="343"/>
                  </a:lnTo>
                  <a:lnTo>
                    <a:pt x="43" y="316"/>
                  </a:lnTo>
                  <a:lnTo>
                    <a:pt x="58" y="302"/>
                  </a:lnTo>
                  <a:lnTo>
                    <a:pt x="72" y="302"/>
                  </a:lnTo>
                  <a:lnTo>
                    <a:pt x="87" y="302"/>
                  </a:lnTo>
                  <a:lnTo>
                    <a:pt x="87" y="287"/>
                  </a:lnTo>
                  <a:lnTo>
                    <a:pt x="72" y="287"/>
                  </a:lnTo>
                  <a:lnTo>
                    <a:pt x="87" y="273"/>
                  </a:lnTo>
                  <a:lnTo>
                    <a:pt x="101" y="258"/>
                  </a:lnTo>
                  <a:lnTo>
                    <a:pt x="115" y="244"/>
                  </a:lnTo>
                  <a:lnTo>
                    <a:pt x="101" y="244"/>
                  </a:lnTo>
                  <a:lnTo>
                    <a:pt x="87" y="258"/>
                  </a:lnTo>
                  <a:lnTo>
                    <a:pt x="72" y="258"/>
                  </a:lnTo>
                  <a:lnTo>
                    <a:pt x="58" y="287"/>
                  </a:lnTo>
                  <a:lnTo>
                    <a:pt x="43" y="273"/>
                  </a:lnTo>
                  <a:lnTo>
                    <a:pt x="29" y="258"/>
                  </a:lnTo>
                  <a:lnTo>
                    <a:pt x="58" y="244"/>
                  </a:lnTo>
                  <a:lnTo>
                    <a:pt x="58" y="229"/>
                  </a:lnTo>
                  <a:lnTo>
                    <a:pt x="58" y="215"/>
                  </a:lnTo>
                  <a:lnTo>
                    <a:pt x="72" y="199"/>
                  </a:lnTo>
                  <a:lnTo>
                    <a:pt x="87" y="199"/>
                  </a:lnTo>
                  <a:lnTo>
                    <a:pt x="87" y="186"/>
                  </a:lnTo>
                  <a:lnTo>
                    <a:pt x="87" y="172"/>
                  </a:lnTo>
                  <a:lnTo>
                    <a:pt x="115" y="172"/>
                  </a:lnTo>
                  <a:lnTo>
                    <a:pt x="115" y="157"/>
                  </a:lnTo>
                  <a:lnTo>
                    <a:pt x="101" y="143"/>
                  </a:lnTo>
                  <a:lnTo>
                    <a:pt x="87" y="143"/>
                  </a:lnTo>
                  <a:lnTo>
                    <a:pt x="101" y="143"/>
                  </a:lnTo>
                  <a:lnTo>
                    <a:pt x="101" y="130"/>
                  </a:lnTo>
                  <a:lnTo>
                    <a:pt x="101" y="114"/>
                  </a:lnTo>
                  <a:lnTo>
                    <a:pt x="101" y="101"/>
                  </a:lnTo>
                  <a:lnTo>
                    <a:pt x="115" y="85"/>
                  </a:lnTo>
                  <a:lnTo>
                    <a:pt x="130" y="85"/>
                  </a:lnTo>
                  <a:lnTo>
                    <a:pt x="144" y="85"/>
                  </a:lnTo>
                  <a:lnTo>
                    <a:pt x="144" y="101"/>
                  </a:lnTo>
                  <a:lnTo>
                    <a:pt x="157" y="101"/>
                  </a:lnTo>
                  <a:lnTo>
                    <a:pt x="173" y="114"/>
                  </a:lnTo>
                  <a:lnTo>
                    <a:pt x="173" y="101"/>
                  </a:lnTo>
                  <a:lnTo>
                    <a:pt x="173" y="85"/>
                  </a:lnTo>
                  <a:lnTo>
                    <a:pt x="157" y="71"/>
                  </a:lnTo>
                  <a:lnTo>
                    <a:pt x="173" y="58"/>
                  </a:lnTo>
                  <a:lnTo>
                    <a:pt x="186" y="58"/>
                  </a:lnTo>
                  <a:lnTo>
                    <a:pt x="173" y="42"/>
                  </a:lnTo>
                  <a:lnTo>
                    <a:pt x="202" y="58"/>
                  </a:lnTo>
                  <a:lnTo>
                    <a:pt x="215" y="42"/>
                  </a:lnTo>
                  <a:lnTo>
                    <a:pt x="202" y="42"/>
                  </a:lnTo>
                  <a:lnTo>
                    <a:pt x="215" y="13"/>
                  </a:lnTo>
                  <a:lnTo>
                    <a:pt x="215" y="0"/>
                  </a:lnTo>
                  <a:lnTo>
                    <a:pt x="231" y="0"/>
                  </a:lnTo>
                  <a:lnTo>
                    <a:pt x="258" y="13"/>
                  </a:lnTo>
                  <a:lnTo>
                    <a:pt x="245" y="13"/>
                  </a:lnTo>
                  <a:lnTo>
                    <a:pt x="258" y="29"/>
                  </a:lnTo>
                  <a:lnTo>
                    <a:pt x="274" y="13"/>
                  </a:lnTo>
                  <a:lnTo>
                    <a:pt x="274" y="29"/>
                  </a:lnTo>
                  <a:lnTo>
                    <a:pt x="303" y="42"/>
                  </a:lnTo>
                  <a:lnTo>
                    <a:pt x="332" y="29"/>
                  </a:lnTo>
                  <a:lnTo>
                    <a:pt x="332" y="42"/>
                  </a:lnTo>
                  <a:lnTo>
                    <a:pt x="345" y="42"/>
                  </a:lnTo>
                  <a:lnTo>
                    <a:pt x="361" y="42"/>
                  </a:lnTo>
                  <a:lnTo>
                    <a:pt x="376" y="58"/>
                  </a:lnTo>
                  <a:lnTo>
                    <a:pt x="361" y="71"/>
                  </a:lnTo>
                  <a:lnTo>
                    <a:pt x="361" y="85"/>
                  </a:lnTo>
                  <a:lnTo>
                    <a:pt x="332" y="85"/>
                  </a:lnTo>
                  <a:lnTo>
                    <a:pt x="318" y="101"/>
                  </a:lnTo>
                  <a:lnTo>
                    <a:pt x="303" y="114"/>
                  </a:lnTo>
                  <a:lnTo>
                    <a:pt x="289" y="114"/>
                  </a:lnTo>
                  <a:lnTo>
                    <a:pt x="274" y="114"/>
                  </a:lnTo>
                  <a:lnTo>
                    <a:pt x="258" y="130"/>
                  </a:lnTo>
                  <a:lnTo>
                    <a:pt x="258" y="143"/>
                  </a:lnTo>
                  <a:lnTo>
                    <a:pt x="245" y="143"/>
                  </a:lnTo>
                  <a:lnTo>
                    <a:pt x="215" y="157"/>
                  </a:lnTo>
                  <a:lnTo>
                    <a:pt x="215" y="172"/>
                  </a:lnTo>
                  <a:lnTo>
                    <a:pt x="231" y="172"/>
                  </a:lnTo>
                  <a:lnTo>
                    <a:pt x="215" y="172"/>
                  </a:lnTo>
                  <a:lnTo>
                    <a:pt x="215" y="186"/>
                  </a:lnTo>
                  <a:lnTo>
                    <a:pt x="215" y="199"/>
                  </a:lnTo>
                  <a:lnTo>
                    <a:pt x="231" y="199"/>
                  </a:lnTo>
                  <a:lnTo>
                    <a:pt x="258" y="186"/>
                  </a:lnTo>
                  <a:lnTo>
                    <a:pt x="274" y="186"/>
                  </a:lnTo>
                  <a:lnTo>
                    <a:pt x="303" y="186"/>
                  </a:lnTo>
                  <a:lnTo>
                    <a:pt x="318" y="186"/>
                  </a:lnTo>
                  <a:lnTo>
                    <a:pt x="345" y="186"/>
                  </a:lnTo>
                  <a:lnTo>
                    <a:pt x="361" y="186"/>
                  </a:lnTo>
                  <a:lnTo>
                    <a:pt x="376" y="199"/>
                  </a:lnTo>
                  <a:lnTo>
                    <a:pt x="376" y="215"/>
                  </a:lnTo>
                  <a:lnTo>
                    <a:pt x="390" y="215"/>
                  </a:lnTo>
                  <a:lnTo>
                    <a:pt x="406" y="215"/>
                  </a:lnTo>
                  <a:lnTo>
                    <a:pt x="419" y="215"/>
                  </a:lnTo>
                  <a:lnTo>
                    <a:pt x="419" y="229"/>
                  </a:lnTo>
                  <a:lnTo>
                    <a:pt x="419" y="244"/>
                  </a:lnTo>
                  <a:lnTo>
                    <a:pt x="406" y="258"/>
                  </a:lnTo>
                  <a:lnTo>
                    <a:pt x="390" y="258"/>
                  </a:lnTo>
                  <a:lnTo>
                    <a:pt x="390" y="273"/>
                  </a:lnTo>
                  <a:lnTo>
                    <a:pt x="376" y="273"/>
                  </a:lnTo>
                  <a:lnTo>
                    <a:pt x="361" y="287"/>
                  </a:lnTo>
                  <a:lnTo>
                    <a:pt x="376" y="302"/>
                  </a:lnTo>
                  <a:lnTo>
                    <a:pt x="376" y="316"/>
                  </a:lnTo>
                  <a:lnTo>
                    <a:pt x="361" y="331"/>
                  </a:lnTo>
                  <a:lnTo>
                    <a:pt x="332" y="343"/>
                  </a:lnTo>
                  <a:lnTo>
                    <a:pt x="332" y="358"/>
                  </a:lnTo>
                  <a:lnTo>
                    <a:pt x="318" y="358"/>
                  </a:lnTo>
                  <a:lnTo>
                    <a:pt x="303" y="374"/>
                  </a:lnTo>
                  <a:lnTo>
                    <a:pt x="289" y="358"/>
                  </a:lnTo>
                  <a:lnTo>
                    <a:pt x="274" y="358"/>
                  </a:lnTo>
                  <a:lnTo>
                    <a:pt x="245" y="358"/>
                  </a:lnTo>
                  <a:lnTo>
                    <a:pt x="245" y="374"/>
                  </a:lnTo>
                  <a:lnTo>
                    <a:pt x="258" y="374"/>
                  </a:lnTo>
                  <a:lnTo>
                    <a:pt x="274" y="388"/>
                  </a:lnTo>
                  <a:lnTo>
                    <a:pt x="289" y="388"/>
                  </a:lnTo>
                  <a:lnTo>
                    <a:pt x="274" y="401"/>
                  </a:lnTo>
                  <a:lnTo>
                    <a:pt x="245" y="401"/>
                  </a:lnTo>
                  <a:lnTo>
                    <a:pt x="245" y="417"/>
                  </a:lnTo>
                  <a:lnTo>
                    <a:pt x="231" y="417"/>
                  </a:lnTo>
                  <a:lnTo>
                    <a:pt x="215" y="417"/>
                  </a:lnTo>
                  <a:lnTo>
                    <a:pt x="202" y="401"/>
                  </a:lnTo>
                  <a:lnTo>
                    <a:pt x="186" y="401"/>
                  </a:lnTo>
                  <a:lnTo>
                    <a:pt x="186" y="417"/>
                  </a:lnTo>
                  <a:lnTo>
                    <a:pt x="202" y="417"/>
                  </a:lnTo>
                  <a:lnTo>
                    <a:pt x="215" y="430"/>
                  </a:lnTo>
                  <a:lnTo>
                    <a:pt x="231" y="430"/>
                  </a:lnTo>
                  <a:lnTo>
                    <a:pt x="258" y="430"/>
                  </a:lnTo>
                  <a:lnTo>
                    <a:pt x="274" y="430"/>
                  </a:lnTo>
                  <a:lnTo>
                    <a:pt x="289" y="444"/>
                  </a:lnTo>
                  <a:lnTo>
                    <a:pt x="303" y="459"/>
                  </a:lnTo>
                  <a:lnTo>
                    <a:pt x="318" y="488"/>
                  </a:lnTo>
                  <a:lnTo>
                    <a:pt x="303" y="517"/>
                  </a:lnTo>
                  <a:lnTo>
                    <a:pt x="289" y="517"/>
                  </a:lnTo>
                  <a:lnTo>
                    <a:pt x="303" y="531"/>
                  </a:lnTo>
                  <a:lnTo>
                    <a:pt x="289" y="545"/>
                  </a:lnTo>
                  <a:lnTo>
                    <a:pt x="274" y="531"/>
                  </a:lnTo>
                  <a:lnTo>
                    <a:pt x="258" y="531"/>
                  </a:lnTo>
                  <a:lnTo>
                    <a:pt x="258" y="545"/>
                  </a:lnTo>
                  <a:lnTo>
                    <a:pt x="245" y="545"/>
                  </a:lnTo>
                  <a:lnTo>
                    <a:pt x="245" y="560"/>
                  </a:lnTo>
                  <a:lnTo>
                    <a:pt x="231" y="560"/>
                  </a:lnTo>
                  <a:lnTo>
                    <a:pt x="215" y="574"/>
                  </a:lnTo>
                  <a:lnTo>
                    <a:pt x="202" y="589"/>
                  </a:lnTo>
                  <a:lnTo>
                    <a:pt x="186" y="589"/>
                  </a:lnTo>
                  <a:lnTo>
                    <a:pt x="186" y="574"/>
                  </a:lnTo>
                  <a:lnTo>
                    <a:pt x="186" y="574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0" name="Freeform 40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3767138" y="4519613"/>
              <a:ext cx="508000" cy="222250"/>
            </a:xfrm>
            <a:custGeom>
              <a:avLst/>
              <a:gdLst>
                <a:gd name="T0" fmla="*/ 53 w 385"/>
                <a:gd name="T1" fmla="*/ 145 h 183"/>
                <a:gd name="T2" fmla="*/ 63 w 385"/>
                <a:gd name="T3" fmla="*/ 135 h 183"/>
                <a:gd name="T4" fmla="*/ 53 w 385"/>
                <a:gd name="T5" fmla="*/ 116 h 183"/>
                <a:gd name="T6" fmla="*/ 75 w 385"/>
                <a:gd name="T7" fmla="*/ 116 h 183"/>
                <a:gd name="T8" fmla="*/ 63 w 385"/>
                <a:gd name="T9" fmla="*/ 86 h 183"/>
                <a:gd name="T10" fmla="*/ 53 w 385"/>
                <a:gd name="T11" fmla="*/ 97 h 183"/>
                <a:gd name="T12" fmla="*/ 32 w 385"/>
                <a:gd name="T13" fmla="*/ 116 h 183"/>
                <a:gd name="T14" fmla="*/ 0 w 385"/>
                <a:gd name="T15" fmla="*/ 106 h 183"/>
                <a:gd name="T16" fmla="*/ 32 w 385"/>
                <a:gd name="T17" fmla="*/ 68 h 183"/>
                <a:gd name="T18" fmla="*/ 41 w 385"/>
                <a:gd name="T19" fmla="*/ 47 h 183"/>
                <a:gd name="T20" fmla="*/ 84 w 385"/>
                <a:gd name="T21" fmla="*/ 38 h 183"/>
                <a:gd name="T22" fmla="*/ 96 w 385"/>
                <a:gd name="T23" fmla="*/ 9 h 183"/>
                <a:gd name="T24" fmla="*/ 118 w 385"/>
                <a:gd name="T25" fmla="*/ 9 h 183"/>
                <a:gd name="T26" fmla="*/ 139 w 385"/>
                <a:gd name="T27" fmla="*/ 0 h 183"/>
                <a:gd name="T28" fmla="*/ 150 w 385"/>
                <a:gd name="T29" fmla="*/ 0 h 183"/>
                <a:gd name="T30" fmla="*/ 159 w 385"/>
                <a:gd name="T31" fmla="*/ 0 h 183"/>
                <a:gd name="T32" fmla="*/ 193 w 385"/>
                <a:gd name="T33" fmla="*/ 9 h 183"/>
                <a:gd name="T34" fmla="*/ 212 w 385"/>
                <a:gd name="T35" fmla="*/ 9 h 183"/>
                <a:gd name="T36" fmla="*/ 234 w 385"/>
                <a:gd name="T37" fmla="*/ 9 h 183"/>
                <a:gd name="T38" fmla="*/ 272 w 385"/>
                <a:gd name="T39" fmla="*/ 13 h 183"/>
                <a:gd name="T40" fmla="*/ 277 w 385"/>
                <a:gd name="T41" fmla="*/ 20 h 183"/>
                <a:gd name="T42" fmla="*/ 290 w 385"/>
                <a:gd name="T43" fmla="*/ 29 h 183"/>
                <a:gd name="T44" fmla="*/ 309 w 385"/>
                <a:gd name="T45" fmla="*/ 47 h 183"/>
                <a:gd name="T46" fmla="*/ 298 w 385"/>
                <a:gd name="T47" fmla="*/ 68 h 183"/>
                <a:gd name="T48" fmla="*/ 309 w 385"/>
                <a:gd name="T49" fmla="*/ 77 h 183"/>
                <a:gd name="T50" fmla="*/ 332 w 385"/>
                <a:gd name="T51" fmla="*/ 86 h 183"/>
                <a:gd name="T52" fmla="*/ 385 w 385"/>
                <a:gd name="T53" fmla="*/ 97 h 183"/>
                <a:gd name="T54" fmla="*/ 373 w 385"/>
                <a:gd name="T55" fmla="*/ 106 h 183"/>
                <a:gd name="T56" fmla="*/ 373 w 385"/>
                <a:gd name="T57" fmla="*/ 125 h 183"/>
                <a:gd name="T58" fmla="*/ 352 w 385"/>
                <a:gd name="T59" fmla="*/ 116 h 183"/>
                <a:gd name="T60" fmla="*/ 332 w 385"/>
                <a:gd name="T61" fmla="*/ 135 h 183"/>
                <a:gd name="T62" fmla="*/ 332 w 385"/>
                <a:gd name="T63" fmla="*/ 154 h 183"/>
                <a:gd name="T64" fmla="*/ 309 w 385"/>
                <a:gd name="T65" fmla="*/ 145 h 183"/>
                <a:gd name="T66" fmla="*/ 287 w 385"/>
                <a:gd name="T67" fmla="*/ 145 h 183"/>
                <a:gd name="T68" fmla="*/ 277 w 385"/>
                <a:gd name="T69" fmla="*/ 125 h 183"/>
                <a:gd name="T70" fmla="*/ 267 w 385"/>
                <a:gd name="T71" fmla="*/ 135 h 183"/>
                <a:gd name="T72" fmla="*/ 255 w 385"/>
                <a:gd name="T73" fmla="*/ 154 h 183"/>
                <a:gd name="T74" fmla="*/ 234 w 385"/>
                <a:gd name="T75" fmla="*/ 174 h 183"/>
                <a:gd name="T76" fmla="*/ 224 w 385"/>
                <a:gd name="T77" fmla="*/ 174 h 183"/>
                <a:gd name="T78" fmla="*/ 202 w 385"/>
                <a:gd name="T79" fmla="*/ 154 h 183"/>
                <a:gd name="T80" fmla="*/ 202 w 385"/>
                <a:gd name="T81" fmla="*/ 135 h 183"/>
                <a:gd name="T82" fmla="*/ 181 w 385"/>
                <a:gd name="T83" fmla="*/ 125 h 183"/>
                <a:gd name="T84" fmla="*/ 171 w 385"/>
                <a:gd name="T85" fmla="*/ 145 h 183"/>
                <a:gd name="T86" fmla="*/ 150 w 385"/>
                <a:gd name="T87" fmla="*/ 165 h 183"/>
                <a:gd name="T88" fmla="*/ 118 w 385"/>
                <a:gd name="T89" fmla="*/ 154 h 183"/>
                <a:gd name="T90" fmla="*/ 63 w 385"/>
                <a:gd name="T91" fmla="*/ 154 h 183"/>
                <a:gd name="T92" fmla="*/ 63 w 385"/>
                <a:gd name="T93" fmla="*/ 15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85" h="183">
                  <a:moveTo>
                    <a:pt x="63" y="154"/>
                  </a:moveTo>
                  <a:lnTo>
                    <a:pt x="53" y="145"/>
                  </a:lnTo>
                  <a:lnTo>
                    <a:pt x="53" y="135"/>
                  </a:lnTo>
                  <a:lnTo>
                    <a:pt x="63" y="135"/>
                  </a:lnTo>
                  <a:lnTo>
                    <a:pt x="53" y="125"/>
                  </a:lnTo>
                  <a:lnTo>
                    <a:pt x="53" y="116"/>
                  </a:lnTo>
                  <a:lnTo>
                    <a:pt x="63" y="116"/>
                  </a:lnTo>
                  <a:lnTo>
                    <a:pt x="75" y="116"/>
                  </a:lnTo>
                  <a:lnTo>
                    <a:pt x="75" y="106"/>
                  </a:lnTo>
                  <a:lnTo>
                    <a:pt x="63" y="86"/>
                  </a:lnTo>
                  <a:lnTo>
                    <a:pt x="53" y="86"/>
                  </a:lnTo>
                  <a:lnTo>
                    <a:pt x="53" y="97"/>
                  </a:lnTo>
                  <a:lnTo>
                    <a:pt x="41" y="97"/>
                  </a:lnTo>
                  <a:lnTo>
                    <a:pt x="32" y="116"/>
                  </a:lnTo>
                  <a:lnTo>
                    <a:pt x="10" y="125"/>
                  </a:lnTo>
                  <a:lnTo>
                    <a:pt x="0" y="106"/>
                  </a:lnTo>
                  <a:lnTo>
                    <a:pt x="10" y="86"/>
                  </a:lnTo>
                  <a:lnTo>
                    <a:pt x="32" y="68"/>
                  </a:lnTo>
                  <a:lnTo>
                    <a:pt x="32" y="57"/>
                  </a:lnTo>
                  <a:lnTo>
                    <a:pt x="41" y="47"/>
                  </a:lnTo>
                  <a:lnTo>
                    <a:pt x="63" y="47"/>
                  </a:lnTo>
                  <a:lnTo>
                    <a:pt x="84" y="38"/>
                  </a:lnTo>
                  <a:lnTo>
                    <a:pt x="96" y="20"/>
                  </a:lnTo>
                  <a:lnTo>
                    <a:pt x="96" y="9"/>
                  </a:lnTo>
                  <a:lnTo>
                    <a:pt x="107" y="0"/>
                  </a:lnTo>
                  <a:lnTo>
                    <a:pt x="118" y="9"/>
                  </a:lnTo>
                  <a:lnTo>
                    <a:pt x="130" y="20"/>
                  </a:lnTo>
                  <a:lnTo>
                    <a:pt x="139" y="0"/>
                  </a:lnTo>
                  <a:lnTo>
                    <a:pt x="150" y="9"/>
                  </a:lnTo>
                  <a:lnTo>
                    <a:pt x="150" y="0"/>
                  </a:lnTo>
                  <a:lnTo>
                    <a:pt x="159" y="9"/>
                  </a:lnTo>
                  <a:lnTo>
                    <a:pt x="159" y="0"/>
                  </a:lnTo>
                  <a:lnTo>
                    <a:pt x="181" y="9"/>
                  </a:lnTo>
                  <a:lnTo>
                    <a:pt x="193" y="9"/>
                  </a:lnTo>
                  <a:lnTo>
                    <a:pt x="202" y="9"/>
                  </a:lnTo>
                  <a:lnTo>
                    <a:pt x="212" y="9"/>
                  </a:lnTo>
                  <a:lnTo>
                    <a:pt x="224" y="9"/>
                  </a:lnTo>
                  <a:lnTo>
                    <a:pt x="234" y="9"/>
                  </a:lnTo>
                  <a:lnTo>
                    <a:pt x="246" y="9"/>
                  </a:lnTo>
                  <a:lnTo>
                    <a:pt x="272" y="13"/>
                  </a:lnTo>
                  <a:lnTo>
                    <a:pt x="267" y="20"/>
                  </a:lnTo>
                  <a:lnTo>
                    <a:pt x="277" y="20"/>
                  </a:lnTo>
                  <a:lnTo>
                    <a:pt x="287" y="19"/>
                  </a:lnTo>
                  <a:lnTo>
                    <a:pt x="290" y="29"/>
                  </a:lnTo>
                  <a:lnTo>
                    <a:pt x="309" y="38"/>
                  </a:lnTo>
                  <a:lnTo>
                    <a:pt x="309" y="47"/>
                  </a:lnTo>
                  <a:lnTo>
                    <a:pt x="298" y="57"/>
                  </a:lnTo>
                  <a:lnTo>
                    <a:pt x="298" y="68"/>
                  </a:lnTo>
                  <a:lnTo>
                    <a:pt x="309" y="68"/>
                  </a:lnTo>
                  <a:lnTo>
                    <a:pt x="309" y="77"/>
                  </a:lnTo>
                  <a:lnTo>
                    <a:pt x="320" y="77"/>
                  </a:lnTo>
                  <a:lnTo>
                    <a:pt x="332" y="86"/>
                  </a:lnTo>
                  <a:lnTo>
                    <a:pt x="342" y="97"/>
                  </a:lnTo>
                  <a:lnTo>
                    <a:pt x="385" y="97"/>
                  </a:lnTo>
                  <a:lnTo>
                    <a:pt x="373" y="97"/>
                  </a:lnTo>
                  <a:lnTo>
                    <a:pt x="373" y="106"/>
                  </a:lnTo>
                  <a:lnTo>
                    <a:pt x="373" y="116"/>
                  </a:lnTo>
                  <a:lnTo>
                    <a:pt x="373" y="125"/>
                  </a:lnTo>
                  <a:lnTo>
                    <a:pt x="364" y="125"/>
                  </a:lnTo>
                  <a:lnTo>
                    <a:pt x="352" y="116"/>
                  </a:lnTo>
                  <a:lnTo>
                    <a:pt x="342" y="125"/>
                  </a:lnTo>
                  <a:lnTo>
                    <a:pt x="332" y="135"/>
                  </a:lnTo>
                  <a:lnTo>
                    <a:pt x="342" y="145"/>
                  </a:lnTo>
                  <a:lnTo>
                    <a:pt x="332" y="154"/>
                  </a:lnTo>
                  <a:lnTo>
                    <a:pt x="320" y="145"/>
                  </a:lnTo>
                  <a:lnTo>
                    <a:pt x="309" y="145"/>
                  </a:lnTo>
                  <a:lnTo>
                    <a:pt x="298" y="145"/>
                  </a:lnTo>
                  <a:lnTo>
                    <a:pt x="287" y="145"/>
                  </a:lnTo>
                  <a:lnTo>
                    <a:pt x="287" y="135"/>
                  </a:lnTo>
                  <a:lnTo>
                    <a:pt x="277" y="125"/>
                  </a:lnTo>
                  <a:lnTo>
                    <a:pt x="267" y="125"/>
                  </a:lnTo>
                  <a:lnTo>
                    <a:pt x="267" y="135"/>
                  </a:lnTo>
                  <a:lnTo>
                    <a:pt x="267" y="154"/>
                  </a:lnTo>
                  <a:lnTo>
                    <a:pt x="255" y="154"/>
                  </a:lnTo>
                  <a:lnTo>
                    <a:pt x="246" y="165"/>
                  </a:lnTo>
                  <a:lnTo>
                    <a:pt x="234" y="174"/>
                  </a:lnTo>
                  <a:lnTo>
                    <a:pt x="234" y="183"/>
                  </a:lnTo>
                  <a:lnTo>
                    <a:pt x="224" y="174"/>
                  </a:lnTo>
                  <a:lnTo>
                    <a:pt x="212" y="165"/>
                  </a:lnTo>
                  <a:lnTo>
                    <a:pt x="202" y="154"/>
                  </a:lnTo>
                  <a:lnTo>
                    <a:pt x="202" y="145"/>
                  </a:lnTo>
                  <a:lnTo>
                    <a:pt x="202" y="135"/>
                  </a:lnTo>
                  <a:lnTo>
                    <a:pt x="193" y="125"/>
                  </a:lnTo>
                  <a:lnTo>
                    <a:pt x="181" y="125"/>
                  </a:lnTo>
                  <a:lnTo>
                    <a:pt x="171" y="135"/>
                  </a:lnTo>
                  <a:lnTo>
                    <a:pt x="171" y="145"/>
                  </a:lnTo>
                  <a:lnTo>
                    <a:pt x="159" y="165"/>
                  </a:lnTo>
                  <a:lnTo>
                    <a:pt x="150" y="165"/>
                  </a:lnTo>
                  <a:lnTo>
                    <a:pt x="130" y="165"/>
                  </a:lnTo>
                  <a:lnTo>
                    <a:pt x="118" y="154"/>
                  </a:lnTo>
                  <a:lnTo>
                    <a:pt x="75" y="165"/>
                  </a:lnTo>
                  <a:lnTo>
                    <a:pt x="63" y="154"/>
                  </a:lnTo>
                  <a:lnTo>
                    <a:pt x="63" y="154"/>
                  </a:lnTo>
                  <a:lnTo>
                    <a:pt x="63" y="154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1" name="Freeform 41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4240213" y="3371851"/>
              <a:ext cx="252413" cy="273050"/>
            </a:xfrm>
            <a:custGeom>
              <a:avLst/>
              <a:gdLst>
                <a:gd name="T0" fmla="*/ 56 w 258"/>
                <a:gd name="T1" fmla="*/ 303 h 332"/>
                <a:gd name="T2" fmla="*/ 101 w 258"/>
                <a:gd name="T3" fmla="*/ 318 h 332"/>
                <a:gd name="T4" fmla="*/ 99 w 258"/>
                <a:gd name="T5" fmla="*/ 332 h 332"/>
                <a:gd name="T6" fmla="*/ 128 w 258"/>
                <a:gd name="T7" fmla="*/ 318 h 332"/>
                <a:gd name="T8" fmla="*/ 99 w 258"/>
                <a:gd name="T9" fmla="*/ 289 h 332"/>
                <a:gd name="T10" fmla="*/ 128 w 258"/>
                <a:gd name="T11" fmla="*/ 274 h 332"/>
                <a:gd name="T12" fmla="*/ 114 w 258"/>
                <a:gd name="T13" fmla="*/ 246 h 332"/>
                <a:gd name="T14" fmla="*/ 128 w 258"/>
                <a:gd name="T15" fmla="*/ 231 h 332"/>
                <a:gd name="T16" fmla="*/ 143 w 258"/>
                <a:gd name="T17" fmla="*/ 217 h 332"/>
                <a:gd name="T18" fmla="*/ 173 w 258"/>
                <a:gd name="T19" fmla="*/ 204 h 332"/>
                <a:gd name="T20" fmla="*/ 202 w 258"/>
                <a:gd name="T21" fmla="*/ 173 h 332"/>
                <a:gd name="T22" fmla="*/ 202 w 258"/>
                <a:gd name="T23" fmla="*/ 130 h 332"/>
                <a:gd name="T24" fmla="*/ 231 w 258"/>
                <a:gd name="T25" fmla="*/ 115 h 332"/>
                <a:gd name="T26" fmla="*/ 244 w 258"/>
                <a:gd name="T27" fmla="*/ 130 h 332"/>
                <a:gd name="T28" fmla="*/ 258 w 258"/>
                <a:gd name="T29" fmla="*/ 101 h 332"/>
                <a:gd name="T30" fmla="*/ 244 w 258"/>
                <a:gd name="T31" fmla="*/ 74 h 332"/>
                <a:gd name="T32" fmla="*/ 215 w 258"/>
                <a:gd name="T33" fmla="*/ 74 h 332"/>
                <a:gd name="T34" fmla="*/ 202 w 258"/>
                <a:gd name="T35" fmla="*/ 58 h 332"/>
                <a:gd name="T36" fmla="*/ 215 w 258"/>
                <a:gd name="T37" fmla="*/ 29 h 332"/>
                <a:gd name="T38" fmla="*/ 215 w 258"/>
                <a:gd name="T39" fmla="*/ 16 h 332"/>
                <a:gd name="T40" fmla="*/ 202 w 258"/>
                <a:gd name="T41" fmla="*/ 0 h 332"/>
                <a:gd name="T42" fmla="*/ 186 w 258"/>
                <a:gd name="T43" fmla="*/ 16 h 332"/>
                <a:gd name="T44" fmla="*/ 143 w 258"/>
                <a:gd name="T45" fmla="*/ 16 h 332"/>
                <a:gd name="T46" fmla="*/ 143 w 258"/>
                <a:gd name="T47" fmla="*/ 45 h 332"/>
                <a:gd name="T48" fmla="*/ 143 w 258"/>
                <a:gd name="T49" fmla="*/ 74 h 332"/>
                <a:gd name="T50" fmla="*/ 128 w 258"/>
                <a:gd name="T51" fmla="*/ 45 h 332"/>
                <a:gd name="T52" fmla="*/ 114 w 258"/>
                <a:gd name="T53" fmla="*/ 45 h 332"/>
                <a:gd name="T54" fmla="*/ 99 w 258"/>
                <a:gd name="T55" fmla="*/ 29 h 332"/>
                <a:gd name="T56" fmla="*/ 87 w 258"/>
                <a:gd name="T57" fmla="*/ 58 h 332"/>
                <a:gd name="T58" fmla="*/ 72 w 258"/>
                <a:gd name="T59" fmla="*/ 74 h 332"/>
                <a:gd name="T60" fmla="*/ 56 w 258"/>
                <a:gd name="T61" fmla="*/ 45 h 332"/>
                <a:gd name="T62" fmla="*/ 43 w 258"/>
                <a:gd name="T63" fmla="*/ 29 h 332"/>
                <a:gd name="T64" fmla="*/ 27 w 258"/>
                <a:gd name="T65" fmla="*/ 45 h 332"/>
                <a:gd name="T66" fmla="*/ 13 w 258"/>
                <a:gd name="T67" fmla="*/ 74 h 332"/>
                <a:gd name="T68" fmla="*/ 13 w 258"/>
                <a:gd name="T69" fmla="*/ 115 h 332"/>
                <a:gd name="T70" fmla="*/ 13 w 258"/>
                <a:gd name="T71" fmla="*/ 146 h 332"/>
                <a:gd name="T72" fmla="*/ 13 w 258"/>
                <a:gd name="T73" fmla="*/ 173 h 332"/>
                <a:gd name="T74" fmla="*/ 13 w 258"/>
                <a:gd name="T75" fmla="*/ 204 h 332"/>
                <a:gd name="T76" fmla="*/ 27 w 258"/>
                <a:gd name="T77" fmla="*/ 217 h 332"/>
                <a:gd name="T78" fmla="*/ 43 w 258"/>
                <a:gd name="T79" fmla="*/ 246 h 332"/>
                <a:gd name="T80" fmla="*/ 43 w 258"/>
                <a:gd name="T81" fmla="*/ 289 h 332"/>
                <a:gd name="T82" fmla="*/ 43 w 258"/>
                <a:gd name="T83" fmla="*/ 318 h 332"/>
                <a:gd name="T84" fmla="*/ 43 w 258"/>
                <a:gd name="T85" fmla="*/ 303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332">
                  <a:moveTo>
                    <a:pt x="43" y="303"/>
                  </a:moveTo>
                  <a:lnTo>
                    <a:pt x="56" y="303"/>
                  </a:lnTo>
                  <a:lnTo>
                    <a:pt x="72" y="318"/>
                  </a:lnTo>
                  <a:lnTo>
                    <a:pt x="101" y="318"/>
                  </a:lnTo>
                  <a:lnTo>
                    <a:pt x="107" y="324"/>
                  </a:lnTo>
                  <a:lnTo>
                    <a:pt x="99" y="332"/>
                  </a:lnTo>
                  <a:lnTo>
                    <a:pt x="114" y="318"/>
                  </a:lnTo>
                  <a:lnTo>
                    <a:pt x="128" y="318"/>
                  </a:lnTo>
                  <a:lnTo>
                    <a:pt x="114" y="303"/>
                  </a:lnTo>
                  <a:lnTo>
                    <a:pt x="99" y="289"/>
                  </a:lnTo>
                  <a:lnTo>
                    <a:pt x="114" y="274"/>
                  </a:lnTo>
                  <a:lnTo>
                    <a:pt x="128" y="274"/>
                  </a:lnTo>
                  <a:lnTo>
                    <a:pt x="114" y="260"/>
                  </a:lnTo>
                  <a:lnTo>
                    <a:pt x="114" y="246"/>
                  </a:lnTo>
                  <a:lnTo>
                    <a:pt x="128" y="246"/>
                  </a:lnTo>
                  <a:lnTo>
                    <a:pt x="128" y="231"/>
                  </a:lnTo>
                  <a:lnTo>
                    <a:pt x="128" y="217"/>
                  </a:lnTo>
                  <a:lnTo>
                    <a:pt x="143" y="217"/>
                  </a:lnTo>
                  <a:lnTo>
                    <a:pt x="157" y="204"/>
                  </a:lnTo>
                  <a:lnTo>
                    <a:pt x="173" y="204"/>
                  </a:lnTo>
                  <a:lnTo>
                    <a:pt x="173" y="188"/>
                  </a:lnTo>
                  <a:lnTo>
                    <a:pt x="202" y="173"/>
                  </a:lnTo>
                  <a:lnTo>
                    <a:pt x="215" y="146"/>
                  </a:lnTo>
                  <a:lnTo>
                    <a:pt x="202" y="130"/>
                  </a:lnTo>
                  <a:lnTo>
                    <a:pt x="215" y="115"/>
                  </a:lnTo>
                  <a:lnTo>
                    <a:pt x="231" y="115"/>
                  </a:lnTo>
                  <a:lnTo>
                    <a:pt x="231" y="130"/>
                  </a:lnTo>
                  <a:lnTo>
                    <a:pt x="244" y="130"/>
                  </a:lnTo>
                  <a:lnTo>
                    <a:pt x="258" y="115"/>
                  </a:lnTo>
                  <a:lnTo>
                    <a:pt x="258" y="101"/>
                  </a:lnTo>
                  <a:lnTo>
                    <a:pt x="258" y="87"/>
                  </a:lnTo>
                  <a:lnTo>
                    <a:pt x="244" y="74"/>
                  </a:lnTo>
                  <a:lnTo>
                    <a:pt x="231" y="74"/>
                  </a:lnTo>
                  <a:lnTo>
                    <a:pt x="215" y="74"/>
                  </a:lnTo>
                  <a:lnTo>
                    <a:pt x="215" y="58"/>
                  </a:lnTo>
                  <a:lnTo>
                    <a:pt x="202" y="58"/>
                  </a:lnTo>
                  <a:lnTo>
                    <a:pt x="202" y="45"/>
                  </a:lnTo>
                  <a:lnTo>
                    <a:pt x="215" y="29"/>
                  </a:lnTo>
                  <a:lnTo>
                    <a:pt x="231" y="29"/>
                  </a:lnTo>
                  <a:lnTo>
                    <a:pt x="215" y="16"/>
                  </a:lnTo>
                  <a:lnTo>
                    <a:pt x="215" y="0"/>
                  </a:lnTo>
                  <a:lnTo>
                    <a:pt x="202" y="0"/>
                  </a:lnTo>
                  <a:lnTo>
                    <a:pt x="186" y="0"/>
                  </a:lnTo>
                  <a:lnTo>
                    <a:pt x="186" y="16"/>
                  </a:lnTo>
                  <a:lnTo>
                    <a:pt x="157" y="16"/>
                  </a:lnTo>
                  <a:lnTo>
                    <a:pt x="143" y="16"/>
                  </a:lnTo>
                  <a:lnTo>
                    <a:pt x="128" y="29"/>
                  </a:lnTo>
                  <a:lnTo>
                    <a:pt x="143" y="45"/>
                  </a:lnTo>
                  <a:lnTo>
                    <a:pt x="143" y="58"/>
                  </a:lnTo>
                  <a:lnTo>
                    <a:pt x="143" y="74"/>
                  </a:lnTo>
                  <a:lnTo>
                    <a:pt x="143" y="58"/>
                  </a:lnTo>
                  <a:lnTo>
                    <a:pt x="128" y="45"/>
                  </a:lnTo>
                  <a:lnTo>
                    <a:pt x="114" y="58"/>
                  </a:lnTo>
                  <a:lnTo>
                    <a:pt x="114" y="45"/>
                  </a:lnTo>
                  <a:lnTo>
                    <a:pt x="114" y="29"/>
                  </a:lnTo>
                  <a:lnTo>
                    <a:pt x="99" y="29"/>
                  </a:lnTo>
                  <a:lnTo>
                    <a:pt x="87" y="45"/>
                  </a:lnTo>
                  <a:lnTo>
                    <a:pt x="87" y="58"/>
                  </a:lnTo>
                  <a:lnTo>
                    <a:pt x="72" y="58"/>
                  </a:lnTo>
                  <a:lnTo>
                    <a:pt x="72" y="74"/>
                  </a:lnTo>
                  <a:lnTo>
                    <a:pt x="72" y="58"/>
                  </a:lnTo>
                  <a:lnTo>
                    <a:pt x="56" y="45"/>
                  </a:lnTo>
                  <a:lnTo>
                    <a:pt x="43" y="45"/>
                  </a:lnTo>
                  <a:lnTo>
                    <a:pt x="43" y="29"/>
                  </a:lnTo>
                  <a:lnTo>
                    <a:pt x="27" y="29"/>
                  </a:lnTo>
                  <a:lnTo>
                    <a:pt x="27" y="45"/>
                  </a:lnTo>
                  <a:lnTo>
                    <a:pt x="13" y="58"/>
                  </a:lnTo>
                  <a:lnTo>
                    <a:pt x="13" y="74"/>
                  </a:lnTo>
                  <a:lnTo>
                    <a:pt x="13" y="101"/>
                  </a:lnTo>
                  <a:lnTo>
                    <a:pt x="13" y="115"/>
                  </a:lnTo>
                  <a:lnTo>
                    <a:pt x="13" y="130"/>
                  </a:lnTo>
                  <a:lnTo>
                    <a:pt x="13" y="146"/>
                  </a:lnTo>
                  <a:lnTo>
                    <a:pt x="13" y="159"/>
                  </a:lnTo>
                  <a:lnTo>
                    <a:pt x="13" y="173"/>
                  </a:lnTo>
                  <a:lnTo>
                    <a:pt x="0" y="188"/>
                  </a:lnTo>
                  <a:lnTo>
                    <a:pt x="13" y="204"/>
                  </a:lnTo>
                  <a:lnTo>
                    <a:pt x="27" y="204"/>
                  </a:lnTo>
                  <a:lnTo>
                    <a:pt x="27" y="217"/>
                  </a:lnTo>
                  <a:lnTo>
                    <a:pt x="43" y="231"/>
                  </a:lnTo>
                  <a:lnTo>
                    <a:pt x="43" y="246"/>
                  </a:lnTo>
                  <a:lnTo>
                    <a:pt x="43" y="260"/>
                  </a:lnTo>
                  <a:lnTo>
                    <a:pt x="43" y="289"/>
                  </a:lnTo>
                  <a:lnTo>
                    <a:pt x="43" y="303"/>
                  </a:lnTo>
                  <a:lnTo>
                    <a:pt x="43" y="318"/>
                  </a:lnTo>
                  <a:lnTo>
                    <a:pt x="43" y="303"/>
                  </a:lnTo>
                  <a:lnTo>
                    <a:pt x="43" y="303"/>
                  </a:lnTo>
                  <a:lnTo>
                    <a:pt x="43" y="303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2" name="Freeform 42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4240213" y="3371851"/>
              <a:ext cx="252413" cy="273050"/>
            </a:xfrm>
            <a:custGeom>
              <a:avLst/>
              <a:gdLst>
                <a:gd name="T0" fmla="*/ 56 w 258"/>
                <a:gd name="T1" fmla="*/ 303 h 332"/>
                <a:gd name="T2" fmla="*/ 101 w 258"/>
                <a:gd name="T3" fmla="*/ 318 h 332"/>
                <a:gd name="T4" fmla="*/ 99 w 258"/>
                <a:gd name="T5" fmla="*/ 332 h 332"/>
                <a:gd name="T6" fmla="*/ 128 w 258"/>
                <a:gd name="T7" fmla="*/ 318 h 332"/>
                <a:gd name="T8" fmla="*/ 99 w 258"/>
                <a:gd name="T9" fmla="*/ 289 h 332"/>
                <a:gd name="T10" fmla="*/ 128 w 258"/>
                <a:gd name="T11" fmla="*/ 274 h 332"/>
                <a:gd name="T12" fmla="*/ 114 w 258"/>
                <a:gd name="T13" fmla="*/ 246 h 332"/>
                <a:gd name="T14" fmla="*/ 128 w 258"/>
                <a:gd name="T15" fmla="*/ 231 h 332"/>
                <a:gd name="T16" fmla="*/ 143 w 258"/>
                <a:gd name="T17" fmla="*/ 217 h 332"/>
                <a:gd name="T18" fmla="*/ 173 w 258"/>
                <a:gd name="T19" fmla="*/ 204 h 332"/>
                <a:gd name="T20" fmla="*/ 202 w 258"/>
                <a:gd name="T21" fmla="*/ 173 h 332"/>
                <a:gd name="T22" fmla="*/ 202 w 258"/>
                <a:gd name="T23" fmla="*/ 130 h 332"/>
                <a:gd name="T24" fmla="*/ 231 w 258"/>
                <a:gd name="T25" fmla="*/ 115 h 332"/>
                <a:gd name="T26" fmla="*/ 244 w 258"/>
                <a:gd name="T27" fmla="*/ 130 h 332"/>
                <a:gd name="T28" fmla="*/ 258 w 258"/>
                <a:gd name="T29" fmla="*/ 101 h 332"/>
                <a:gd name="T30" fmla="*/ 244 w 258"/>
                <a:gd name="T31" fmla="*/ 74 h 332"/>
                <a:gd name="T32" fmla="*/ 215 w 258"/>
                <a:gd name="T33" fmla="*/ 74 h 332"/>
                <a:gd name="T34" fmla="*/ 202 w 258"/>
                <a:gd name="T35" fmla="*/ 58 h 332"/>
                <a:gd name="T36" fmla="*/ 215 w 258"/>
                <a:gd name="T37" fmla="*/ 29 h 332"/>
                <a:gd name="T38" fmla="*/ 215 w 258"/>
                <a:gd name="T39" fmla="*/ 16 h 332"/>
                <a:gd name="T40" fmla="*/ 202 w 258"/>
                <a:gd name="T41" fmla="*/ 0 h 332"/>
                <a:gd name="T42" fmla="*/ 186 w 258"/>
                <a:gd name="T43" fmla="*/ 16 h 332"/>
                <a:gd name="T44" fmla="*/ 143 w 258"/>
                <a:gd name="T45" fmla="*/ 16 h 332"/>
                <a:gd name="T46" fmla="*/ 143 w 258"/>
                <a:gd name="T47" fmla="*/ 45 h 332"/>
                <a:gd name="T48" fmla="*/ 143 w 258"/>
                <a:gd name="T49" fmla="*/ 74 h 332"/>
                <a:gd name="T50" fmla="*/ 128 w 258"/>
                <a:gd name="T51" fmla="*/ 45 h 332"/>
                <a:gd name="T52" fmla="*/ 114 w 258"/>
                <a:gd name="T53" fmla="*/ 45 h 332"/>
                <a:gd name="T54" fmla="*/ 99 w 258"/>
                <a:gd name="T55" fmla="*/ 29 h 332"/>
                <a:gd name="T56" fmla="*/ 87 w 258"/>
                <a:gd name="T57" fmla="*/ 58 h 332"/>
                <a:gd name="T58" fmla="*/ 72 w 258"/>
                <a:gd name="T59" fmla="*/ 74 h 332"/>
                <a:gd name="T60" fmla="*/ 56 w 258"/>
                <a:gd name="T61" fmla="*/ 45 h 332"/>
                <a:gd name="T62" fmla="*/ 43 w 258"/>
                <a:gd name="T63" fmla="*/ 29 h 332"/>
                <a:gd name="T64" fmla="*/ 27 w 258"/>
                <a:gd name="T65" fmla="*/ 45 h 332"/>
                <a:gd name="T66" fmla="*/ 13 w 258"/>
                <a:gd name="T67" fmla="*/ 74 h 332"/>
                <a:gd name="T68" fmla="*/ 13 w 258"/>
                <a:gd name="T69" fmla="*/ 115 h 332"/>
                <a:gd name="T70" fmla="*/ 13 w 258"/>
                <a:gd name="T71" fmla="*/ 146 h 332"/>
                <a:gd name="T72" fmla="*/ 13 w 258"/>
                <a:gd name="T73" fmla="*/ 173 h 332"/>
                <a:gd name="T74" fmla="*/ 13 w 258"/>
                <a:gd name="T75" fmla="*/ 204 h 332"/>
                <a:gd name="T76" fmla="*/ 27 w 258"/>
                <a:gd name="T77" fmla="*/ 217 h 332"/>
                <a:gd name="T78" fmla="*/ 43 w 258"/>
                <a:gd name="T79" fmla="*/ 246 h 332"/>
                <a:gd name="T80" fmla="*/ 43 w 258"/>
                <a:gd name="T81" fmla="*/ 289 h 332"/>
                <a:gd name="T82" fmla="*/ 43 w 258"/>
                <a:gd name="T83" fmla="*/ 318 h 332"/>
                <a:gd name="T84" fmla="*/ 43 w 258"/>
                <a:gd name="T85" fmla="*/ 303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332">
                  <a:moveTo>
                    <a:pt x="43" y="303"/>
                  </a:moveTo>
                  <a:lnTo>
                    <a:pt x="56" y="303"/>
                  </a:lnTo>
                  <a:lnTo>
                    <a:pt x="72" y="318"/>
                  </a:lnTo>
                  <a:lnTo>
                    <a:pt x="101" y="318"/>
                  </a:lnTo>
                  <a:lnTo>
                    <a:pt x="107" y="324"/>
                  </a:lnTo>
                  <a:lnTo>
                    <a:pt x="99" y="332"/>
                  </a:lnTo>
                  <a:lnTo>
                    <a:pt x="114" y="318"/>
                  </a:lnTo>
                  <a:lnTo>
                    <a:pt x="128" y="318"/>
                  </a:lnTo>
                  <a:lnTo>
                    <a:pt x="114" y="303"/>
                  </a:lnTo>
                  <a:lnTo>
                    <a:pt x="99" y="289"/>
                  </a:lnTo>
                  <a:lnTo>
                    <a:pt x="114" y="274"/>
                  </a:lnTo>
                  <a:lnTo>
                    <a:pt x="128" y="274"/>
                  </a:lnTo>
                  <a:lnTo>
                    <a:pt x="114" y="260"/>
                  </a:lnTo>
                  <a:lnTo>
                    <a:pt x="114" y="246"/>
                  </a:lnTo>
                  <a:lnTo>
                    <a:pt x="128" y="246"/>
                  </a:lnTo>
                  <a:lnTo>
                    <a:pt x="128" y="231"/>
                  </a:lnTo>
                  <a:lnTo>
                    <a:pt x="128" y="217"/>
                  </a:lnTo>
                  <a:lnTo>
                    <a:pt x="143" y="217"/>
                  </a:lnTo>
                  <a:lnTo>
                    <a:pt x="157" y="204"/>
                  </a:lnTo>
                  <a:lnTo>
                    <a:pt x="173" y="204"/>
                  </a:lnTo>
                  <a:lnTo>
                    <a:pt x="173" y="188"/>
                  </a:lnTo>
                  <a:lnTo>
                    <a:pt x="202" y="173"/>
                  </a:lnTo>
                  <a:lnTo>
                    <a:pt x="215" y="146"/>
                  </a:lnTo>
                  <a:lnTo>
                    <a:pt x="202" y="130"/>
                  </a:lnTo>
                  <a:lnTo>
                    <a:pt x="215" y="115"/>
                  </a:lnTo>
                  <a:lnTo>
                    <a:pt x="231" y="115"/>
                  </a:lnTo>
                  <a:lnTo>
                    <a:pt x="231" y="130"/>
                  </a:lnTo>
                  <a:lnTo>
                    <a:pt x="244" y="130"/>
                  </a:lnTo>
                  <a:lnTo>
                    <a:pt x="258" y="115"/>
                  </a:lnTo>
                  <a:lnTo>
                    <a:pt x="258" y="101"/>
                  </a:lnTo>
                  <a:lnTo>
                    <a:pt x="258" y="87"/>
                  </a:lnTo>
                  <a:lnTo>
                    <a:pt x="244" y="74"/>
                  </a:lnTo>
                  <a:lnTo>
                    <a:pt x="231" y="74"/>
                  </a:lnTo>
                  <a:lnTo>
                    <a:pt x="215" y="74"/>
                  </a:lnTo>
                  <a:lnTo>
                    <a:pt x="215" y="58"/>
                  </a:lnTo>
                  <a:lnTo>
                    <a:pt x="202" y="58"/>
                  </a:lnTo>
                  <a:lnTo>
                    <a:pt x="202" y="45"/>
                  </a:lnTo>
                  <a:lnTo>
                    <a:pt x="215" y="29"/>
                  </a:lnTo>
                  <a:lnTo>
                    <a:pt x="231" y="29"/>
                  </a:lnTo>
                  <a:lnTo>
                    <a:pt x="215" y="16"/>
                  </a:lnTo>
                  <a:lnTo>
                    <a:pt x="215" y="0"/>
                  </a:lnTo>
                  <a:lnTo>
                    <a:pt x="202" y="0"/>
                  </a:lnTo>
                  <a:lnTo>
                    <a:pt x="186" y="0"/>
                  </a:lnTo>
                  <a:lnTo>
                    <a:pt x="186" y="16"/>
                  </a:lnTo>
                  <a:lnTo>
                    <a:pt x="157" y="16"/>
                  </a:lnTo>
                  <a:lnTo>
                    <a:pt x="143" y="16"/>
                  </a:lnTo>
                  <a:lnTo>
                    <a:pt x="128" y="29"/>
                  </a:lnTo>
                  <a:lnTo>
                    <a:pt x="143" y="45"/>
                  </a:lnTo>
                  <a:lnTo>
                    <a:pt x="143" y="58"/>
                  </a:lnTo>
                  <a:lnTo>
                    <a:pt x="143" y="74"/>
                  </a:lnTo>
                  <a:lnTo>
                    <a:pt x="143" y="58"/>
                  </a:lnTo>
                  <a:lnTo>
                    <a:pt x="128" y="45"/>
                  </a:lnTo>
                  <a:lnTo>
                    <a:pt x="114" y="58"/>
                  </a:lnTo>
                  <a:lnTo>
                    <a:pt x="114" y="45"/>
                  </a:lnTo>
                  <a:lnTo>
                    <a:pt x="114" y="29"/>
                  </a:lnTo>
                  <a:lnTo>
                    <a:pt x="99" y="29"/>
                  </a:lnTo>
                  <a:lnTo>
                    <a:pt x="87" y="45"/>
                  </a:lnTo>
                  <a:lnTo>
                    <a:pt x="87" y="58"/>
                  </a:lnTo>
                  <a:lnTo>
                    <a:pt x="72" y="58"/>
                  </a:lnTo>
                  <a:lnTo>
                    <a:pt x="72" y="74"/>
                  </a:lnTo>
                  <a:lnTo>
                    <a:pt x="72" y="58"/>
                  </a:lnTo>
                  <a:lnTo>
                    <a:pt x="56" y="45"/>
                  </a:lnTo>
                  <a:lnTo>
                    <a:pt x="43" y="45"/>
                  </a:lnTo>
                  <a:lnTo>
                    <a:pt x="43" y="29"/>
                  </a:lnTo>
                  <a:lnTo>
                    <a:pt x="27" y="29"/>
                  </a:lnTo>
                  <a:lnTo>
                    <a:pt x="27" y="45"/>
                  </a:lnTo>
                  <a:lnTo>
                    <a:pt x="13" y="58"/>
                  </a:lnTo>
                  <a:lnTo>
                    <a:pt x="13" y="74"/>
                  </a:lnTo>
                  <a:lnTo>
                    <a:pt x="13" y="101"/>
                  </a:lnTo>
                  <a:lnTo>
                    <a:pt x="13" y="115"/>
                  </a:lnTo>
                  <a:lnTo>
                    <a:pt x="13" y="130"/>
                  </a:lnTo>
                  <a:lnTo>
                    <a:pt x="13" y="146"/>
                  </a:lnTo>
                  <a:lnTo>
                    <a:pt x="13" y="159"/>
                  </a:lnTo>
                  <a:lnTo>
                    <a:pt x="13" y="173"/>
                  </a:lnTo>
                  <a:lnTo>
                    <a:pt x="0" y="188"/>
                  </a:lnTo>
                  <a:lnTo>
                    <a:pt x="13" y="204"/>
                  </a:lnTo>
                  <a:lnTo>
                    <a:pt x="27" y="204"/>
                  </a:lnTo>
                  <a:lnTo>
                    <a:pt x="27" y="217"/>
                  </a:lnTo>
                  <a:lnTo>
                    <a:pt x="43" y="231"/>
                  </a:lnTo>
                  <a:lnTo>
                    <a:pt x="43" y="246"/>
                  </a:lnTo>
                  <a:lnTo>
                    <a:pt x="43" y="260"/>
                  </a:lnTo>
                  <a:lnTo>
                    <a:pt x="43" y="289"/>
                  </a:lnTo>
                  <a:lnTo>
                    <a:pt x="43" y="303"/>
                  </a:lnTo>
                  <a:lnTo>
                    <a:pt x="43" y="318"/>
                  </a:lnTo>
                  <a:lnTo>
                    <a:pt x="43" y="303"/>
                  </a:lnTo>
                  <a:lnTo>
                    <a:pt x="43" y="303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3" name="Freeform 43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3883025" y="3617913"/>
              <a:ext cx="917575" cy="998538"/>
            </a:xfrm>
            <a:custGeom>
              <a:avLst/>
              <a:gdLst>
                <a:gd name="T0" fmla="*/ 21 w 695"/>
                <a:gd name="T1" fmla="*/ 500 h 819"/>
                <a:gd name="T2" fmla="*/ 21 w 695"/>
                <a:gd name="T3" fmla="*/ 548 h 819"/>
                <a:gd name="T4" fmla="*/ 96 w 695"/>
                <a:gd name="T5" fmla="*/ 596 h 819"/>
                <a:gd name="T6" fmla="*/ 96 w 695"/>
                <a:gd name="T7" fmla="*/ 635 h 819"/>
                <a:gd name="T8" fmla="*/ 75 w 695"/>
                <a:gd name="T9" fmla="*/ 703 h 819"/>
                <a:gd name="T10" fmla="*/ 75 w 695"/>
                <a:gd name="T11" fmla="*/ 751 h 819"/>
                <a:gd name="T12" fmla="*/ 130 w 695"/>
                <a:gd name="T13" fmla="*/ 751 h 819"/>
                <a:gd name="T14" fmla="*/ 185 w 695"/>
                <a:gd name="T15" fmla="*/ 758 h 819"/>
                <a:gd name="T16" fmla="*/ 235 w 695"/>
                <a:gd name="T17" fmla="*/ 771 h 819"/>
                <a:gd name="T18" fmla="*/ 289 w 695"/>
                <a:gd name="T19" fmla="*/ 799 h 819"/>
                <a:gd name="T20" fmla="*/ 336 w 695"/>
                <a:gd name="T21" fmla="*/ 788 h 819"/>
                <a:gd name="T22" fmla="*/ 397 w 695"/>
                <a:gd name="T23" fmla="*/ 789 h 819"/>
                <a:gd name="T24" fmla="*/ 460 w 695"/>
                <a:gd name="T25" fmla="*/ 779 h 819"/>
                <a:gd name="T26" fmla="*/ 495 w 695"/>
                <a:gd name="T27" fmla="*/ 797 h 819"/>
                <a:gd name="T28" fmla="*/ 524 w 695"/>
                <a:gd name="T29" fmla="*/ 799 h 819"/>
                <a:gd name="T30" fmla="*/ 503 w 695"/>
                <a:gd name="T31" fmla="*/ 751 h 819"/>
                <a:gd name="T32" fmla="*/ 556 w 695"/>
                <a:gd name="T33" fmla="*/ 703 h 819"/>
                <a:gd name="T34" fmla="*/ 588 w 695"/>
                <a:gd name="T35" fmla="*/ 684 h 819"/>
                <a:gd name="T36" fmla="*/ 545 w 695"/>
                <a:gd name="T37" fmla="*/ 646 h 819"/>
                <a:gd name="T38" fmla="*/ 503 w 695"/>
                <a:gd name="T39" fmla="*/ 578 h 819"/>
                <a:gd name="T40" fmla="*/ 471 w 695"/>
                <a:gd name="T41" fmla="*/ 519 h 819"/>
                <a:gd name="T42" fmla="*/ 493 w 695"/>
                <a:gd name="T43" fmla="*/ 491 h 819"/>
                <a:gd name="T44" fmla="*/ 565 w 695"/>
                <a:gd name="T45" fmla="*/ 482 h 819"/>
                <a:gd name="T46" fmla="*/ 654 w 695"/>
                <a:gd name="T47" fmla="*/ 434 h 819"/>
                <a:gd name="T48" fmla="*/ 685 w 695"/>
                <a:gd name="T49" fmla="*/ 434 h 819"/>
                <a:gd name="T50" fmla="*/ 685 w 695"/>
                <a:gd name="T51" fmla="*/ 375 h 819"/>
                <a:gd name="T52" fmla="*/ 674 w 695"/>
                <a:gd name="T53" fmla="*/ 299 h 819"/>
                <a:gd name="T54" fmla="*/ 654 w 695"/>
                <a:gd name="T55" fmla="*/ 261 h 819"/>
                <a:gd name="T56" fmla="*/ 663 w 695"/>
                <a:gd name="T57" fmla="*/ 202 h 819"/>
                <a:gd name="T58" fmla="*/ 631 w 695"/>
                <a:gd name="T59" fmla="*/ 135 h 819"/>
                <a:gd name="T60" fmla="*/ 588 w 695"/>
                <a:gd name="T61" fmla="*/ 97 h 819"/>
                <a:gd name="T62" fmla="*/ 545 w 695"/>
                <a:gd name="T63" fmla="*/ 97 h 819"/>
                <a:gd name="T64" fmla="*/ 481 w 695"/>
                <a:gd name="T65" fmla="*/ 115 h 819"/>
                <a:gd name="T66" fmla="*/ 440 w 695"/>
                <a:gd name="T67" fmla="*/ 97 h 819"/>
                <a:gd name="T68" fmla="*/ 428 w 695"/>
                <a:gd name="T69" fmla="*/ 76 h 819"/>
                <a:gd name="T70" fmla="*/ 385 w 695"/>
                <a:gd name="T71" fmla="*/ 58 h 819"/>
                <a:gd name="T72" fmla="*/ 363 w 695"/>
                <a:gd name="T73" fmla="*/ 29 h 819"/>
                <a:gd name="T74" fmla="*/ 301 w 695"/>
                <a:gd name="T75" fmla="*/ 0 h 819"/>
                <a:gd name="T76" fmla="*/ 289 w 695"/>
                <a:gd name="T77" fmla="*/ 58 h 819"/>
                <a:gd name="T78" fmla="*/ 289 w 695"/>
                <a:gd name="T79" fmla="*/ 87 h 819"/>
                <a:gd name="T80" fmla="*/ 332 w 695"/>
                <a:gd name="T81" fmla="*/ 144 h 819"/>
                <a:gd name="T82" fmla="*/ 269 w 695"/>
                <a:gd name="T83" fmla="*/ 125 h 819"/>
                <a:gd name="T84" fmla="*/ 246 w 695"/>
                <a:gd name="T85" fmla="*/ 155 h 819"/>
                <a:gd name="T86" fmla="*/ 226 w 695"/>
                <a:gd name="T87" fmla="*/ 144 h 819"/>
                <a:gd name="T88" fmla="*/ 172 w 695"/>
                <a:gd name="T89" fmla="*/ 115 h 819"/>
                <a:gd name="T90" fmla="*/ 163 w 695"/>
                <a:gd name="T91" fmla="*/ 144 h 819"/>
                <a:gd name="T92" fmla="*/ 163 w 695"/>
                <a:gd name="T93" fmla="*/ 194 h 819"/>
                <a:gd name="T94" fmla="*/ 151 w 695"/>
                <a:gd name="T95" fmla="*/ 241 h 819"/>
                <a:gd name="T96" fmla="*/ 130 w 695"/>
                <a:gd name="T97" fmla="*/ 299 h 819"/>
                <a:gd name="T98" fmla="*/ 55 w 695"/>
                <a:gd name="T99" fmla="*/ 299 h 819"/>
                <a:gd name="T100" fmla="*/ 33 w 695"/>
                <a:gd name="T101" fmla="*/ 356 h 819"/>
                <a:gd name="T102" fmla="*/ 0 w 695"/>
                <a:gd name="T103" fmla="*/ 414 h 819"/>
                <a:gd name="T104" fmla="*/ 0 w 695"/>
                <a:gd name="T105" fmla="*/ 443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95" h="819">
                  <a:moveTo>
                    <a:pt x="0" y="462"/>
                  </a:moveTo>
                  <a:lnTo>
                    <a:pt x="0" y="472"/>
                  </a:lnTo>
                  <a:lnTo>
                    <a:pt x="12" y="482"/>
                  </a:lnTo>
                  <a:lnTo>
                    <a:pt x="21" y="491"/>
                  </a:lnTo>
                  <a:lnTo>
                    <a:pt x="21" y="500"/>
                  </a:lnTo>
                  <a:lnTo>
                    <a:pt x="21" y="511"/>
                  </a:lnTo>
                  <a:lnTo>
                    <a:pt x="21" y="519"/>
                  </a:lnTo>
                  <a:lnTo>
                    <a:pt x="21" y="529"/>
                  </a:lnTo>
                  <a:lnTo>
                    <a:pt x="12" y="529"/>
                  </a:lnTo>
                  <a:lnTo>
                    <a:pt x="21" y="548"/>
                  </a:lnTo>
                  <a:lnTo>
                    <a:pt x="33" y="568"/>
                  </a:lnTo>
                  <a:lnTo>
                    <a:pt x="44" y="578"/>
                  </a:lnTo>
                  <a:lnTo>
                    <a:pt x="65" y="587"/>
                  </a:lnTo>
                  <a:lnTo>
                    <a:pt x="87" y="587"/>
                  </a:lnTo>
                  <a:lnTo>
                    <a:pt x="96" y="596"/>
                  </a:lnTo>
                  <a:lnTo>
                    <a:pt x="108" y="596"/>
                  </a:lnTo>
                  <a:lnTo>
                    <a:pt x="118" y="596"/>
                  </a:lnTo>
                  <a:lnTo>
                    <a:pt x="125" y="605"/>
                  </a:lnTo>
                  <a:lnTo>
                    <a:pt x="101" y="621"/>
                  </a:lnTo>
                  <a:lnTo>
                    <a:pt x="96" y="635"/>
                  </a:lnTo>
                  <a:lnTo>
                    <a:pt x="87" y="655"/>
                  </a:lnTo>
                  <a:lnTo>
                    <a:pt x="87" y="664"/>
                  </a:lnTo>
                  <a:lnTo>
                    <a:pt x="75" y="673"/>
                  </a:lnTo>
                  <a:lnTo>
                    <a:pt x="75" y="684"/>
                  </a:lnTo>
                  <a:lnTo>
                    <a:pt x="75" y="703"/>
                  </a:lnTo>
                  <a:lnTo>
                    <a:pt x="75" y="712"/>
                  </a:lnTo>
                  <a:lnTo>
                    <a:pt x="65" y="721"/>
                  </a:lnTo>
                  <a:lnTo>
                    <a:pt x="65" y="743"/>
                  </a:lnTo>
                  <a:lnTo>
                    <a:pt x="65" y="742"/>
                  </a:lnTo>
                  <a:lnTo>
                    <a:pt x="75" y="751"/>
                  </a:lnTo>
                  <a:lnTo>
                    <a:pt x="75" y="742"/>
                  </a:lnTo>
                  <a:lnTo>
                    <a:pt x="96" y="751"/>
                  </a:lnTo>
                  <a:lnTo>
                    <a:pt x="108" y="751"/>
                  </a:lnTo>
                  <a:lnTo>
                    <a:pt x="118" y="751"/>
                  </a:lnTo>
                  <a:lnTo>
                    <a:pt x="130" y="751"/>
                  </a:lnTo>
                  <a:lnTo>
                    <a:pt x="139" y="751"/>
                  </a:lnTo>
                  <a:lnTo>
                    <a:pt x="151" y="751"/>
                  </a:lnTo>
                  <a:lnTo>
                    <a:pt x="163" y="751"/>
                  </a:lnTo>
                  <a:lnTo>
                    <a:pt x="177" y="758"/>
                  </a:lnTo>
                  <a:lnTo>
                    <a:pt x="185" y="758"/>
                  </a:lnTo>
                  <a:lnTo>
                    <a:pt x="194" y="761"/>
                  </a:lnTo>
                  <a:lnTo>
                    <a:pt x="204" y="761"/>
                  </a:lnTo>
                  <a:lnTo>
                    <a:pt x="198" y="770"/>
                  </a:lnTo>
                  <a:lnTo>
                    <a:pt x="226" y="779"/>
                  </a:lnTo>
                  <a:lnTo>
                    <a:pt x="235" y="771"/>
                  </a:lnTo>
                  <a:lnTo>
                    <a:pt x="246" y="771"/>
                  </a:lnTo>
                  <a:lnTo>
                    <a:pt x="258" y="779"/>
                  </a:lnTo>
                  <a:lnTo>
                    <a:pt x="269" y="789"/>
                  </a:lnTo>
                  <a:lnTo>
                    <a:pt x="279" y="789"/>
                  </a:lnTo>
                  <a:lnTo>
                    <a:pt x="289" y="799"/>
                  </a:lnTo>
                  <a:lnTo>
                    <a:pt x="301" y="789"/>
                  </a:lnTo>
                  <a:lnTo>
                    <a:pt x="310" y="789"/>
                  </a:lnTo>
                  <a:lnTo>
                    <a:pt x="322" y="771"/>
                  </a:lnTo>
                  <a:lnTo>
                    <a:pt x="336" y="777"/>
                  </a:lnTo>
                  <a:lnTo>
                    <a:pt x="336" y="788"/>
                  </a:lnTo>
                  <a:lnTo>
                    <a:pt x="352" y="789"/>
                  </a:lnTo>
                  <a:lnTo>
                    <a:pt x="363" y="789"/>
                  </a:lnTo>
                  <a:lnTo>
                    <a:pt x="375" y="779"/>
                  </a:lnTo>
                  <a:lnTo>
                    <a:pt x="385" y="789"/>
                  </a:lnTo>
                  <a:lnTo>
                    <a:pt x="397" y="789"/>
                  </a:lnTo>
                  <a:lnTo>
                    <a:pt x="406" y="789"/>
                  </a:lnTo>
                  <a:lnTo>
                    <a:pt x="418" y="779"/>
                  </a:lnTo>
                  <a:lnTo>
                    <a:pt x="428" y="779"/>
                  </a:lnTo>
                  <a:lnTo>
                    <a:pt x="449" y="779"/>
                  </a:lnTo>
                  <a:lnTo>
                    <a:pt x="460" y="779"/>
                  </a:lnTo>
                  <a:lnTo>
                    <a:pt x="471" y="789"/>
                  </a:lnTo>
                  <a:lnTo>
                    <a:pt x="471" y="779"/>
                  </a:lnTo>
                  <a:lnTo>
                    <a:pt x="481" y="779"/>
                  </a:lnTo>
                  <a:lnTo>
                    <a:pt x="498" y="788"/>
                  </a:lnTo>
                  <a:lnTo>
                    <a:pt x="495" y="797"/>
                  </a:lnTo>
                  <a:lnTo>
                    <a:pt x="503" y="810"/>
                  </a:lnTo>
                  <a:lnTo>
                    <a:pt x="514" y="819"/>
                  </a:lnTo>
                  <a:lnTo>
                    <a:pt x="514" y="810"/>
                  </a:lnTo>
                  <a:lnTo>
                    <a:pt x="524" y="810"/>
                  </a:lnTo>
                  <a:lnTo>
                    <a:pt x="524" y="799"/>
                  </a:lnTo>
                  <a:lnTo>
                    <a:pt x="524" y="789"/>
                  </a:lnTo>
                  <a:lnTo>
                    <a:pt x="514" y="779"/>
                  </a:lnTo>
                  <a:lnTo>
                    <a:pt x="514" y="771"/>
                  </a:lnTo>
                  <a:lnTo>
                    <a:pt x="514" y="761"/>
                  </a:lnTo>
                  <a:lnTo>
                    <a:pt x="503" y="751"/>
                  </a:lnTo>
                  <a:lnTo>
                    <a:pt x="503" y="742"/>
                  </a:lnTo>
                  <a:lnTo>
                    <a:pt x="503" y="721"/>
                  </a:lnTo>
                  <a:lnTo>
                    <a:pt x="536" y="721"/>
                  </a:lnTo>
                  <a:lnTo>
                    <a:pt x="545" y="712"/>
                  </a:lnTo>
                  <a:lnTo>
                    <a:pt x="556" y="703"/>
                  </a:lnTo>
                  <a:lnTo>
                    <a:pt x="556" y="692"/>
                  </a:lnTo>
                  <a:lnTo>
                    <a:pt x="565" y="692"/>
                  </a:lnTo>
                  <a:lnTo>
                    <a:pt x="577" y="692"/>
                  </a:lnTo>
                  <a:lnTo>
                    <a:pt x="588" y="692"/>
                  </a:lnTo>
                  <a:lnTo>
                    <a:pt x="588" y="684"/>
                  </a:lnTo>
                  <a:lnTo>
                    <a:pt x="588" y="673"/>
                  </a:lnTo>
                  <a:lnTo>
                    <a:pt x="577" y="664"/>
                  </a:lnTo>
                  <a:lnTo>
                    <a:pt x="565" y="655"/>
                  </a:lnTo>
                  <a:lnTo>
                    <a:pt x="556" y="646"/>
                  </a:lnTo>
                  <a:lnTo>
                    <a:pt x="545" y="646"/>
                  </a:lnTo>
                  <a:lnTo>
                    <a:pt x="536" y="635"/>
                  </a:lnTo>
                  <a:lnTo>
                    <a:pt x="524" y="616"/>
                  </a:lnTo>
                  <a:lnTo>
                    <a:pt x="514" y="596"/>
                  </a:lnTo>
                  <a:lnTo>
                    <a:pt x="503" y="587"/>
                  </a:lnTo>
                  <a:lnTo>
                    <a:pt x="503" y="578"/>
                  </a:lnTo>
                  <a:lnTo>
                    <a:pt x="503" y="559"/>
                  </a:lnTo>
                  <a:lnTo>
                    <a:pt x="493" y="548"/>
                  </a:lnTo>
                  <a:lnTo>
                    <a:pt x="481" y="540"/>
                  </a:lnTo>
                  <a:lnTo>
                    <a:pt x="481" y="519"/>
                  </a:lnTo>
                  <a:lnTo>
                    <a:pt x="471" y="519"/>
                  </a:lnTo>
                  <a:lnTo>
                    <a:pt x="460" y="500"/>
                  </a:lnTo>
                  <a:lnTo>
                    <a:pt x="460" y="482"/>
                  </a:lnTo>
                  <a:lnTo>
                    <a:pt x="471" y="491"/>
                  </a:lnTo>
                  <a:lnTo>
                    <a:pt x="471" y="500"/>
                  </a:lnTo>
                  <a:lnTo>
                    <a:pt x="493" y="491"/>
                  </a:lnTo>
                  <a:lnTo>
                    <a:pt x="503" y="500"/>
                  </a:lnTo>
                  <a:lnTo>
                    <a:pt x="524" y="500"/>
                  </a:lnTo>
                  <a:lnTo>
                    <a:pt x="545" y="491"/>
                  </a:lnTo>
                  <a:lnTo>
                    <a:pt x="556" y="491"/>
                  </a:lnTo>
                  <a:lnTo>
                    <a:pt x="565" y="482"/>
                  </a:lnTo>
                  <a:lnTo>
                    <a:pt x="577" y="482"/>
                  </a:lnTo>
                  <a:lnTo>
                    <a:pt x="611" y="462"/>
                  </a:lnTo>
                  <a:lnTo>
                    <a:pt x="620" y="452"/>
                  </a:lnTo>
                  <a:lnTo>
                    <a:pt x="631" y="443"/>
                  </a:lnTo>
                  <a:lnTo>
                    <a:pt x="654" y="434"/>
                  </a:lnTo>
                  <a:lnTo>
                    <a:pt x="663" y="443"/>
                  </a:lnTo>
                  <a:lnTo>
                    <a:pt x="663" y="452"/>
                  </a:lnTo>
                  <a:lnTo>
                    <a:pt x="674" y="452"/>
                  </a:lnTo>
                  <a:lnTo>
                    <a:pt x="685" y="443"/>
                  </a:lnTo>
                  <a:lnTo>
                    <a:pt x="685" y="434"/>
                  </a:lnTo>
                  <a:lnTo>
                    <a:pt x="685" y="404"/>
                  </a:lnTo>
                  <a:lnTo>
                    <a:pt x="695" y="395"/>
                  </a:lnTo>
                  <a:lnTo>
                    <a:pt x="685" y="395"/>
                  </a:lnTo>
                  <a:lnTo>
                    <a:pt x="685" y="385"/>
                  </a:lnTo>
                  <a:lnTo>
                    <a:pt x="685" y="375"/>
                  </a:lnTo>
                  <a:lnTo>
                    <a:pt x="685" y="347"/>
                  </a:lnTo>
                  <a:lnTo>
                    <a:pt x="685" y="338"/>
                  </a:lnTo>
                  <a:lnTo>
                    <a:pt x="674" y="318"/>
                  </a:lnTo>
                  <a:lnTo>
                    <a:pt x="674" y="308"/>
                  </a:lnTo>
                  <a:lnTo>
                    <a:pt x="674" y="299"/>
                  </a:lnTo>
                  <a:lnTo>
                    <a:pt x="685" y="288"/>
                  </a:lnTo>
                  <a:lnTo>
                    <a:pt x="674" y="288"/>
                  </a:lnTo>
                  <a:lnTo>
                    <a:pt x="663" y="279"/>
                  </a:lnTo>
                  <a:lnTo>
                    <a:pt x="663" y="270"/>
                  </a:lnTo>
                  <a:lnTo>
                    <a:pt x="654" y="261"/>
                  </a:lnTo>
                  <a:lnTo>
                    <a:pt x="642" y="241"/>
                  </a:lnTo>
                  <a:lnTo>
                    <a:pt x="654" y="231"/>
                  </a:lnTo>
                  <a:lnTo>
                    <a:pt x="663" y="221"/>
                  </a:lnTo>
                  <a:lnTo>
                    <a:pt x="663" y="212"/>
                  </a:lnTo>
                  <a:lnTo>
                    <a:pt x="663" y="202"/>
                  </a:lnTo>
                  <a:lnTo>
                    <a:pt x="663" y="194"/>
                  </a:lnTo>
                  <a:lnTo>
                    <a:pt x="663" y="183"/>
                  </a:lnTo>
                  <a:lnTo>
                    <a:pt x="663" y="155"/>
                  </a:lnTo>
                  <a:lnTo>
                    <a:pt x="631" y="155"/>
                  </a:lnTo>
                  <a:lnTo>
                    <a:pt x="631" y="135"/>
                  </a:lnTo>
                  <a:lnTo>
                    <a:pt x="631" y="115"/>
                  </a:lnTo>
                  <a:lnTo>
                    <a:pt x="611" y="115"/>
                  </a:lnTo>
                  <a:lnTo>
                    <a:pt x="599" y="115"/>
                  </a:lnTo>
                  <a:lnTo>
                    <a:pt x="599" y="107"/>
                  </a:lnTo>
                  <a:lnTo>
                    <a:pt x="588" y="97"/>
                  </a:lnTo>
                  <a:lnTo>
                    <a:pt x="588" y="87"/>
                  </a:lnTo>
                  <a:lnTo>
                    <a:pt x="577" y="87"/>
                  </a:lnTo>
                  <a:lnTo>
                    <a:pt x="565" y="97"/>
                  </a:lnTo>
                  <a:lnTo>
                    <a:pt x="556" y="97"/>
                  </a:lnTo>
                  <a:lnTo>
                    <a:pt x="545" y="97"/>
                  </a:lnTo>
                  <a:lnTo>
                    <a:pt x="524" y="107"/>
                  </a:lnTo>
                  <a:lnTo>
                    <a:pt x="503" y="115"/>
                  </a:lnTo>
                  <a:lnTo>
                    <a:pt x="493" y="107"/>
                  </a:lnTo>
                  <a:lnTo>
                    <a:pt x="493" y="115"/>
                  </a:lnTo>
                  <a:lnTo>
                    <a:pt x="481" y="115"/>
                  </a:lnTo>
                  <a:lnTo>
                    <a:pt x="460" y="115"/>
                  </a:lnTo>
                  <a:lnTo>
                    <a:pt x="449" y="115"/>
                  </a:lnTo>
                  <a:lnTo>
                    <a:pt x="428" y="107"/>
                  </a:lnTo>
                  <a:lnTo>
                    <a:pt x="440" y="107"/>
                  </a:lnTo>
                  <a:lnTo>
                    <a:pt x="440" y="97"/>
                  </a:lnTo>
                  <a:lnTo>
                    <a:pt x="449" y="97"/>
                  </a:lnTo>
                  <a:lnTo>
                    <a:pt x="449" y="87"/>
                  </a:lnTo>
                  <a:lnTo>
                    <a:pt x="449" y="76"/>
                  </a:lnTo>
                  <a:lnTo>
                    <a:pt x="440" y="76"/>
                  </a:lnTo>
                  <a:lnTo>
                    <a:pt x="428" y="76"/>
                  </a:lnTo>
                  <a:lnTo>
                    <a:pt x="418" y="87"/>
                  </a:lnTo>
                  <a:lnTo>
                    <a:pt x="406" y="68"/>
                  </a:lnTo>
                  <a:lnTo>
                    <a:pt x="397" y="68"/>
                  </a:lnTo>
                  <a:lnTo>
                    <a:pt x="385" y="68"/>
                  </a:lnTo>
                  <a:lnTo>
                    <a:pt x="385" y="58"/>
                  </a:lnTo>
                  <a:lnTo>
                    <a:pt x="375" y="58"/>
                  </a:lnTo>
                  <a:lnTo>
                    <a:pt x="363" y="58"/>
                  </a:lnTo>
                  <a:lnTo>
                    <a:pt x="363" y="48"/>
                  </a:lnTo>
                  <a:lnTo>
                    <a:pt x="375" y="39"/>
                  </a:lnTo>
                  <a:lnTo>
                    <a:pt x="363" y="29"/>
                  </a:lnTo>
                  <a:lnTo>
                    <a:pt x="352" y="21"/>
                  </a:lnTo>
                  <a:lnTo>
                    <a:pt x="342" y="10"/>
                  </a:lnTo>
                  <a:lnTo>
                    <a:pt x="322" y="10"/>
                  </a:lnTo>
                  <a:lnTo>
                    <a:pt x="310" y="0"/>
                  </a:lnTo>
                  <a:lnTo>
                    <a:pt x="301" y="0"/>
                  </a:lnTo>
                  <a:lnTo>
                    <a:pt x="301" y="21"/>
                  </a:lnTo>
                  <a:lnTo>
                    <a:pt x="301" y="29"/>
                  </a:lnTo>
                  <a:lnTo>
                    <a:pt x="310" y="39"/>
                  </a:lnTo>
                  <a:lnTo>
                    <a:pt x="310" y="48"/>
                  </a:lnTo>
                  <a:lnTo>
                    <a:pt x="289" y="58"/>
                  </a:lnTo>
                  <a:lnTo>
                    <a:pt x="279" y="58"/>
                  </a:lnTo>
                  <a:lnTo>
                    <a:pt x="279" y="68"/>
                  </a:lnTo>
                  <a:lnTo>
                    <a:pt x="289" y="68"/>
                  </a:lnTo>
                  <a:lnTo>
                    <a:pt x="289" y="76"/>
                  </a:lnTo>
                  <a:lnTo>
                    <a:pt x="289" y="87"/>
                  </a:lnTo>
                  <a:lnTo>
                    <a:pt x="310" y="97"/>
                  </a:lnTo>
                  <a:lnTo>
                    <a:pt x="301" y="107"/>
                  </a:lnTo>
                  <a:lnTo>
                    <a:pt x="310" y="115"/>
                  </a:lnTo>
                  <a:lnTo>
                    <a:pt x="332" y="125"/>
                  </a:lnTo>
                  <a:lnTo>
                    <a:pt x="332" y="144"/>
                  </a:lnTo>
                  <a:lnTo>
                    <a:pt x="322" y="125"/>
                  </a:lnTo>
                  <a:lnTo>
                    <a:pt x="310" y="115"/>
                  </a:lnTo>
                  <a:lnTo>
                    <a:pt x="289" y="115"/>
                  </a:lnTo>
                  <a:lnTo>
                    <a:pt x="269" y="115"/>
                  </a:lnTo>
                  <a:lnTo>
                    <a:pt x="269" y="125"/>
                  </a:lnTo>
                  <a:lnTo>
                    <a:pt x="269" y="144"/>
                  </a:lnTo>
                  <a:lnTo>
                    <a:pt x="269" y="155"/>
                  </a:lnTo>
                  <a:lnTo>
                    <a:pt x="258" y="164"/>
                  </a:lnTo>
                  <a:lnTo>
                    <a:pt x="258" y="173"/>
                  </a:lnTo>
                  <a:lnTo>
                    <a:pt x="246" y="155"/>
                  </a:lnTo>
                  <a:lnTo>
                    <a:pt x="246" y="144"/>
                  </a:lnTo>
                  <a:lnTo>
                    <a:pt x="246" y="135"/>
                  </a:lnTo>
                  <a:lnTo>
                    <a:pt x="235" y="135"/>
                  </a:lnTo>
                  <a:lnTo>
                    <a:pt x="235" y="144"/>
                  </a:lnTo>
                  <a:lnTo>
                    <a:pt x="226" y="144"/>
                  </a:lnTo>
                  <a:lnTo>
                    <a:pt x="226" y="135"/>
                  </a:lnTo>
                  <a:lnTo>
                    <a:pt x="235" y="125"/>
                  </a:lnTo>
                  <a:lnTo>
                    <a:pt x="214" y="115"/>
                  </a:lnTo>
                  <a:lnTo>
                    <a:pt x="194" y="115"/>
                  </a:lnTo>
                  <a:lnTo>
                    <a:pt x="172" y="115"/>
                  </a:lnTo>
                  <a:lnTo>
                    <a:pt x="163" y="115"/>
                  </a:lnTo>
                  <a:lnTo>
                    <a:pt x="163" y="125"/>
                  </a:lnTo>
                  <a:lnTo>
                    <a:pt x="151" y="135"/>
                  </a:lnTo>
                  <a:lnTo>
                    <a:pt x="151" y="144"/>
                  </a:lnTo>
                  <a:lnTo>
                    <a:pt x="163" y="144"/>
                  </a:lnTo>
                  <a:lnTo>
                    <a:pt x="163" y="155"/>
                  </a:lnTo>
                  <a:lnTo>
                    <a:pt x="172" y="164"/>
                  </a:lnTo>
                  <a:lnTo>
                    <a:pt x="163" y="173"/>
                  </a:lnTo>
                  <a:lnTo>
                    <a:pt x="163" y="183"/>
                  </a:lnTo>
                  <a:lnTo>
                    <a:pt x="163" y="194"/>
                  </a:lnTo>
                  <a:lnTo>
                    <a:pt x="163" y="202"/>
                  </a:lnTo>
                  <a:lnTo>
                    <a:pt x="151" y="202"/>
                  </a:lnTo>
                  <a:lnTo>
                    <a:pt x="151" y="212"/>
                  </a:lnTo>
                  <a:lnTo>
                    <a:pt x="151" y="231"/>
                  </a:lnTo>
                  <a:lnTo>
                    <a:pt x="151" y="241"/>
                  </a:lnTo>
                  <a:lnTo>
                    <a:pt x="139" y="251"/>
                  </a:lnTo>
                  <a:lnTo>
                    <a:pt x="151" y="261"/>
                  </a:lnTo>
                  <a:lnTo>
                    <a:pt x="151" y="270"/>
                  </a:lnTo>
                  <a:lnTo>
                    <a:pt x="139" y="299"/>
                  </a:lnTo>
                  <a:lnTo>
                    <a:pt x="130" y="299"/>
                  </a:lnTo>
                  <a:lnTo>
                    <a:pt x="118" y="299"/>
                  </a:lnTo>
                  <a:lnTo>
                    <a:pt x="108" y="299"/>
                  </a:lnTo>
                  <a:lnTo>
                    <a:pt x="96" y="299"/>
                  </a:lnTo>
                  <a:lnTo>
                    <a:pt x="87" y="288"/>
                  </a:lnTo>
                  <a:lnTo>
                    <a:pt x="55" y="299"/>
                  </a:lnTo>
                  <a:lnTo>
                    <a:pt x="33" y="308"/>
                  </a:lnTo>
                  <a:lnTo>
                    <a:pt x="33" y="318"/>
                  </a:lnTo>
                  <a:lnTo>
                    <a:pt x="33" y="327"/>
                  </a:lnTo>
                  <a:lnTo>
                    <a:pt x="33" y="347"/>
                  </a:lnTo>
                  <a:lnTo>
                    <a:pt x="33" y="356"/>
                  </a:lnTo>
                  <a:lnTo>
                    <a:pt x="12" y="365"/>
                  </a:lnTo>
                  <a:lnTo>
                    <a:pt x="12" y="375"/>
                  </a:lnTo>
                  <a:lnTo>
                    <a:pt x="12" y="385"/>
                  </a:lnTo>
                  <a:lnTo>
                    <a:pt x="12" y="395"/>
                  </a:lnTo>
                  <a:lnTo>
                    <a:pt x="0" y="414"/>
                  </a:lnTo>
                  <a:lnTo>
                    <a:pt x="12" y="414"/>
                  </a:lnTo>
                  <a:lnTo>
                    <a:pt x="12" y="424"/>
                  </a:lnTo>
                  <a:lnTo>
                    <a:pt x="12" y="434"/>
                  </a:lnTo>
                  <a:lnTo>
                    <a:pt x="0" y="434"/>
                  </a:lnTo>
                  <a:lnTo>
                    <a:pt x="0" y="443"/>
                  </a:lnTo>
                  <a:lnTo>
                    <a:pt x="0" y="452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0" y="462"/>
                  </a:lnTo>
                  <a:close/>
                </a:path>
              </a:pathLst>
            </a:custGeom>
            <a:solidFill>
              <a:srgbClr val="FF0000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FFFF"/>
                </a:solidFill>
              </a:endParaRPr>
            </a:p>
          </p:txBody>
        </p:sp>
        <p:sp>
          <p:nvSpPr>
            <p:cNvPr id="264" name="Freeform 44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3843338" y="4162426"/>
              <a:ext cx="69850" cy="98425"/>
            </a:xfrm>
            <a:custGeom>
              <a:avLst/>
              <a:gdLst>
                <a:gd name="T0" fmla="*/ 3 w 53"/>
                <a:gd name="T1" fmla="*/ 69 h 81"/>
                <a:gd name="T2" fmla="*/ 5 w 53"/>
                <a:gd name="T3" fmla="*/ 52 h 81"/>
                <a:gd name="T4" fmla="*/ 0 w 53"/>
                <a:gd name="T5" fmla="*/ 43 h 81"/>
                <a:gd name="T6" fmla="*/ 0 w 53"/>
                <a:gd name="T7" fmla="*/ 33 h 81"/>
                <a:gd name="T8" fmla="*/ 0 w 53"/>
                <a:gd name="T9" fmla="*/ 23 h 81"/>
                <a:gd name="T10" fmla="*/ 3 w 53"/>
                <a:gd name="T11" fmla="*/ 9 h 81"/>
                <a:gd name="T12" fmla="*/ 18 w 53"/>
                <a:gd name="T13" fmla="*/ 0 h 81"/>
                <a:gd name="T14" fmla="*/ 31 w 53"/>
                <a:gd name="T15" fmla="*/ 14 h 81"/>
                <a:gd name="T16" fmla="*/ 31 w 53"/>
                <a:gd name="T17" fmla="*/ 23 h 81"/>
                <a:gd name="T18" fmla="*/ 43 w 53"/>
                <a:gd name="T19" fmla="*/ 33 h 81"/>
                <a:gd name="T20" fmla="*/ 53 w 53"/>
                <a:gd name="T21" fmla="*/ 43 h 81"/>
                <a:gd name="T22" fmla="*/ 53 w 53"/>
                <a:gd name="T23" fmla="*/ 51 h 81"/>
                <a:gd name="T24" fmla="*/ 53 w 53"/>
                <a:gd name="T25" fmla="*/ 62 h 81"/>
                <a:gd name="T26" fmla="*/ 50 w 53"/>
                <a:gd name="T27" fmla="*/ 81 h 81"/>
                <a:gd name="T28" fmla="*/ 43 w 53"/>
                <a:gd name="T29" fmla="*/ 81 h 81"/>
                <a:gd name="T30" fmla="*/ 17 w 53"/>
                <a:gd name="T31" fmla="*/ 81 h 81"/>
                <a:gd name="T32" fmla="*/ 3 w 53"/>
                <a:gd name="T33" fmla="*/ 69 h 81"/>
                <a:gd name="T34" fmla="*/ 3 w 53"/>
                <a:gd name="T35" fmla="*/ 6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81">
                  <a:moveTo>
                    <a:pt x="3" y="69"/>
                  </a:moveTo>
                  <a:lnTo>
                    <a:pt x="5" y="52"/>
                  </a:lnTo>
                  <a:lnTo>
                    <a:pt x="0" y="43"/>
                  </a:lnTo>
                  <a:lnTo>
                    <a:pt x="0" y="33"/>
                  </a:lnTo>
                  <a:lnTo>
                    <a:pt x="0" y="23"/>
                  </a:lnTo>
                  <a:lnTo>
                    <a:pt x="3" y="9"/>
                  </a:lnTo>
                  <a:lnTo>
                    <a:pt x="18" y="0"/>
                  </a:lnTo>
                  <a:lnTo>
                    <a:pt x="31" y="14"/>
                  </a:lnTo>
                  <a:lnTo>
                    <a:pt x="31" y="23"/>
                  </a:lnTo>
                  <a:lnTo>
                    <a:pt x="43" y="33"/>
                  </a:lnTo>
                  <a:lnTo>
                    <a:pt x="53" y="43"/>
                  </a:lnTo>
                  <a:lnTo>
                    <a:pt x="53" y="51"/>
                  </a:lnTo>
                  <a:lnTo>
                    <a:pt x="53" y="62"/>
                  </a:lnTo>
                  <a:lnTo>
                    <a:pt x="50" y="81"/>
                  </a:lnTo>
                  <a:lnTo>
                    <a:pt x="43" y="81"/>
                  </a:lnTo>
                  <a:lnTo>
                    <a:pt x="17" y="81"/>
                  </a:lnTo>
                  <a:lnTo>
                    <a:pt x="3" y="69"/>
                  </a:lnTo>
                  <a:lnTo>
                    <a:pt x="3" y="69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5" name="Freeform 45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295775" y="3273426"/>
              <a:ext cx="225425" cy="119063"/>
            </a:xfrm>
            <a:custGeom>
              <a:avLst/>
              <a:gdLst>
                <a:gd name="T0" fmla="*/ 14 w 231"/>
                <a:gd name="T1" fmla="*/ 143 h 143"/>
                <a:gd name="T2" fmla="*/ 16 w 231"/>
                <a:gd name="T3" fmla="*/ 130 h 143"/>
                <a:gd name="T4" fmla="*/ 16 w 231"/>
                <a:gd name="T5" fmla="*/ 114 h 143"/>
                <a:gd name="T6" fmla="*/ 29 w 231"/>
                <a:gd name="T7" fmla="*/ 101 h 143"/>
                <a:gd name="T8" fmla="*/ 43 w 231"/>
                <a:gd name="T9" fmla="*/ 101 h 143"/>
                <a:gd name="T10" fmla="*/ 58 w 231"/>
                <a:gd name="T11" fmla="*/ 101 h 143"/>
                <a:gd name="T12" fmla="*/ 72 w 231"/>
                <a:gd name="T13" fmla="*/ 101 h 143"/>
                <a:gd name="T14" fmla="*/ 85 w 231"/>
                <a:gd name="T15" fmla="*/ 101 h 143"/>
                <a:gd name="T16" fmla="*/ 101 w 231"/>
                <a:gd name="T17" fmla="*/ 101 h 143"/>
                <a:gd name="T18" fmla="*/ 115 w 231"/>
                <a:gd name="T19" fmla="*/ 85 h 143"/>
                <a:gd name="T20" fmla="*/ 130 w 231"/>
                <a:gd name="T21" fmla="*/ 85 h 143"/>
                <a:gd name="T22" fmla="*/ 159 w 231"/>
                <a:gd name="T23" fmla="*/ 85 h 143"/>
                <a:gd name="T24" fmla="*/ 173 w 231"/>
                <a:gd name="T25" fmla="*/ 101 h 143"/>
                <a:gd name="T26" fmla="*/ 188 w 231"/>
                <a:gd name="T27" fmla="*/ 114 h 143"/>
                <a:gd name="T28" fmla="*/ 188 w 231"/>
                <a:gd name="T29" fmla="*/ 101 h 143"/>
                <a:gd name="T30" fmla="*/ 202 w 231"/>
                <a:gd name="T31" fmla="*/ 85 h 143"/>
                <a:gd name="T32" fmla="*/ 217 w 231"/>
                <a:gd name="T33" fmla="*/ 72 h 143"/>
                <a:gd name="T34" fmla="*/ 217 w 231"/>
                <a:gd name="T35" fmla="*/ 43 h 143"/>
                <a:gd name="T36" fmla="*/ 202 w 231"/>
                <a:gd name="T37" fmla="*/ 43 h 143"/>
                <a:gd name="T38" fmla="*/ 202 w 231"/>
                <a:gd name="T39" fmla="*/ 29 h 143"/>
                <a:gd name="T40" fmla="*/ 217 w 231"/>
                <a:gd name="T41" fmla="*/ 14 h 143"/>
                <a:gd name="T42" fmla="*/ 231 w 231"/>
                <a:gd name="T43" fmla="*/ 0 h 143"/>
                <a:gd name="T44" fmla="*/ 217 w 231"/>
                <a:gd name="T45" fmla="*/ 0 h 143"/>
                <a:gd name="T46" fmla="*/ 202 w 231"/>
                <a:gd name="T47" fmla="*/ 14 h 143"/>
                <a:gd name="T48" fmla="*/ 188 w 231"/>
                <a:gd name="T49" fmla="*/ 14 h 143"/>
                <a:gd name="T50" fmla="*/ 173 w 231"/>
                <a:gd name="T51" fmla="*/ 14 h 143"/>
                <a:gd name="T52" fmla="*/ 159 w 231"/>
                <a:gd name="T53" fmla="*/ 29 h 143"/>
                <a:gd name="T54" fmla="*/ 144 w 231"/>
                <a:gd name="T55" fmla="*/ 29 h 143"/>
                <a:gd name="T56" fmla="*/ 130 w 231"/>
                <a:gd name="T57" fmla="*/ 43 h 143"/>
                <a:gd name="T58" fmla="*/ 115 w 231"/>
                <a:gd name="T59" fmla="*/ 58 h 143"/>
                <a:gd name="T60" fmla="*/ 115 w 231"/>
                <a:gd name="T61" fmla="*/ 72 h 143"/>
                <a:gd name="T62" fmla="*/ 101 w 231"/>
                <a:gd name="T63" fmla="*/ 85 h 143"/>
                <a:gd name="T64" fmla="*/ 85 w 231"/>
                <a:gd name="T65" fmla="*/ 85 h 143"/>
                <a:gd name="T66" fmla="*/ 72 w 231"/>
                <a:gd name="T67" fmla="*/ 85 h 143"/>
                <a:gd name="T68" fmla="*/ 29 w 231"/>
                <a:gd name="T69" fmla="*/ 85 h 143"/>
                <a:gd name="T70" fmla="*/ 16 w 231"/>
                <a:gd name="T71" fmla="*/ 85 h 143"/>
                <a:gd name="T72" fmla="*/ 0 w 231"/>
                <a:gd name="T73" fmla="*/ 101 h 143"/>
                <a:gd name="T74" fmla="*/ 0 w 231"/>
                <a:gd name="T75" fmla="*/ 114 h 143"/>
                <a:gd name="T76" fmla="*/ 16 w 231"/>
                <a:gd name="T77" fmla="*/ 143 h 143"/>
                <a:gd name="T78" fmla="*/ 16 w 231"/>
                <a:gd name="T79" fmla="*/ 143 h 143"/>
                <a:gd name="T80" fmla="*/ 14 w 231"/>
                <a:gd name="T81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1" h="143">
                  <a:moveTo>
                    <a:pt x="14" y="143"/>
                  </a:moveTo>
                  <a:lnTo>
                    <a:pt x="16" y="130"/>
                  </a:lnTo>
                  <a:lnTo>
                    <a:pt x="16" y="114"/>
                  </a:lnTo>
                  <a:lnTo>
                    <a:pt x="29" y="101"/>
                  </a:lnTo>
                  <a:lnTo>
                    <a:pt x="43" y="101"/>
                  </a:lnTo>
                  <a:lnTo>
                    <a:pt x="58" y="101"/>
                  </a:lnTo>
                  <a:lnTo>
                    <a:pt x="72" y="101"/>
                  </a:lnTo>
                  <a:lnTo>
                    <a:pt x="85" y="101"/>
                  </a:lnTo>
                  <a:lnTo>
                    <a:pt x="101" y="101"/>
                  </a:lnTo>
                  <a:lnTo>
                    <a:pt x="115" y="85"/>
                  </a:lnTo>
                  <a:lnTo>
                    <a:pt x="130" y="85"/>
                  </a:lnTo>
                  <a:lnTo>
                    <a:pt x="159" y="85"/>
                  </a:lnTo>
                  <a:lnTo>
                    <a:pt x="173" y="101"/>
                  </a:lnTo>
                  <a:lnTo>
                    <a:pt x="188" y="114"/>
                  </a:lnTo>
                  <a:lnTo>
                    <a:pt x="188" y="101"/>
                  </a:lnTo>
                  <a:lnTo>
                    <a:pt x="202" y="85"/>
                  </a:lnTo>
                  <a:lnTo>
                    <a:pt x="217" y="72"/>
                  </a:lnTo>
                  <a:lnTo>
                    <a:pt x="217" y="43"/>
                  </a:lnTo>
                  <a:lnTo>
                    <a:pt x="202" y="43"/>
                  </a:lnTo>
                  <a:lnTo>
                    <a:pt x="202" y="29"/>
                  </a:lnTo>
                  <a:lnTo>
                    <a:pt x="217" y="14"/>
                  </a:lnTo>
                  <a:lnTo>
                    <a:pt x="231" y="0"/>
                  </a:lnTo>
                  <a:lnTo>
                    <a:pt x="217" y="0"/>
                  </a:lnTo>
                  <a:lnTo>
                    <a:pt x="202" y="14"/>
                  </a:lnTo>
                  <a:lnTo>
                    <a:pt x="188" y="14"/>
                  </a:lnTo>
                  <a:lnTo>
                    <a:pt x="173" y="14"/>
                  </a:lnTo>
                  <a:lnTo>
                    <a:pt x="159" y="29"/>
                  </a:lnTo>
                  <a:lnTo>
                    <a:pt x="144" y="29"/>
                  </a:lnTo>
                  <a:lnTo>
                    <a:pt x="130" y="43"/>
                  </a:lnTo>
                  <a:lnTo>
                    <a:pt x="115" y="58"/>
                  </a:lnTo>
                  <a:lnTo>
                    <a:pt x="115" y="72"/>
                  </a:lnTo>
                  <a:lnTo>
                    <a:pt x="101" y="85"/>
                  </a:lnTo>
                  <a:lnTo>
                    <a:pt x="85" y="85"/>
                  </a:lnTo>
                  <a:lnTo>
                    <a:pt x="72" y="85"/>
                  </a:lnTo>
                  <a:lnTo>
                    <a:pt x="29" y="85"/>
                  </a:lnTo>
                  <a:lnTo>
                    <a:pt x="16" y="85"/>
                  </a:lnTo>
                  <a:lnTo>
                    <a:pt x="0" y="101"/>
                  </a:lnTo>
                  <a:lnTo>
                    <a:pt x="0" y="114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4" y="143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6" name="Freeform 46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295775" y="3273426"/>
              <a:ext cx="225425" cy="119063"/>
            </a:xfrm>
            <a:custGeom>
              <a:avLst/>
              <a:gdLst>
                <a:gd name="T0" fmla="*/ 14 w 231"/>
                <a:gd name="T1" fmla="*/ 143 h 143"/>
                <a:gd name="T2" fmla="*/ 16 w 231"/>
                <a:gd name="T3" fmla="*/ 130 h 143"/>
                <a:gd name="T4" fmla="*/ 16 w 231"/>
                <a:gd name="T5" fmla="*/ 114 h 143"/>
                <a:gd name="T6" fmla="*/ 29 w 231"/>
                <a:gd name="T7" fmla="*/ 101 h 143"/>
                <a:gd name="T8" fmla="*/ 43 w 231"/>
                <a:gd name="T9" fmla="*/ 101 h 143"/>
                <a:gd name="T10" fmla="*/ 58 w 231"/>
                <a:gd name="T11" fmla="*/ 101 h 143"/>
                <a:gd name="T12" fmla="*/ 72 w 231"/>
                <a:gd name="T13" fmla="*/ 101 h 143"/>
                <a:gd name="T14" fmla="*/ 85 w 231"/>
                <a:gd name="T15" fmla="*/ 101 h 143"/>
                <a:gd name="T16" fmla="*/ 101 w 231"/>
                <a:gd name="T17" fmla="*/ 101 h 143"/>
                <a:gd name="T18" fmla="*/ 115 w 231"/>
                <a:gd name="T19" fmla="*/ 85 h 143"/>
                <a:gd name="T20" fmla="*/ 130 w 231"/>
                <a:gd name="T21" fmla="*/ 85 h 143"/>
                <a:gd name="T22" fmla="*/ 159 w 231"/>
                <a:gd name="T23" fmla="*/ 85 h 143"/>
                <a:gd name="T24" fmla="*/ 173 w 231"/>
                <a:gd name="T25" fmla="*/ 101 h 143"/>
                <a:gd name="T26" fmla="*/ 188 w 231"/>
                <a:gd name="T27" fmla="*/ 114 h 143"/>
                <a:gd name="T28" fmla="*/ 188 w 231"/>
                <a:gd name="T29" fmla="*/ 101 h 143"/>
                <a:gd name="T30" fmla="*/ 202 w 231"/>
                <a:gd name="T31" fmla="*/ 85 h 143"/>
                <a:gd name="T32" fmla="*/ 217 w 231"/>
                <a:gd name="T33" fmla="*/ 72 h 143"/>
                <a:gd name="T34" fmla="*/ 217 w 231"/>
                <a:gd name="T35" fmla="*/ 43 h 143"/>
                <a:gd name="T36" fmla="*/ 202 w 231"/>
                <a:gd name="T37" fmla="*/ 43 h 143"/>
                <a:gd name="T38" fmla="*/ 202 w 231"/>
                <a:gd name="T39" fmla="*/ 29 h 143"/>
                <a:gd name="T40" fmla="*/ 217 w 231"/>
                <a:gd name="T41" fmla="*/ 14 h 143"/>
                <a:gd name="T42" fmla="*/ 231 w 231"/>
                <a:gd name="T43" fmla="*/ 0 h 143"/>
                <a:gd name="T44" fmla="*/ 217 w 231"/>
                <a:gd name="T45" fmla="*/ 0 h 143"/>
                <a:gd name="T46" fmla="*/ 202 w 231"/>
                <a:gd name="T47" fmla="*/ 14 h 143"/>
                <a:gd name="T48" fmla="*/ 188 w 231"/>
                <a:gd name="T49" fmla="*/ 14 h 143"/>
                <a:gd name="T50" fmla="*/ 173 w 231"/>
                <a:gd name="T51" fmla="*/ 14 h 143"/>
                <a:gd name="T52" fmla="*/ 159 w 231"/>
                <a:gd name="T53" fmla="*/ 29 h 143"/>
                <a:gd name="T54" fmla="*/ 144 w 231"/>
                <a:gd name="T55" fmla="*/ 29 h 143"/>
                <a:gd name="T56" fmla="*/ 130 w 231"/>
                <a:gd name="T57" fmla="*/ 43 h 143"/>
                <a:gd name="T58" fmla="*/ 115 w 231"/>
                <a:gd name="T59" fmla="*/ 58 h 143"/>
                <a:gd name="T60" fmla="*/ 115 w 231"/>
                <a:gd name="T61" fmla="*/ 72 h 143"/>
                <a:gd name="T62" fmla="*/ 101 w 231"/>
                <a:gd name="T63" fmla="*/ 85 h 143"/>
                <a:gd name="T64" fmla="*/ 85 w 231"/>
                <a:gd name="T65" fmla="*/ 85 h 143"/>
                <a:gd name="T66" fmla="*/ 72 w 231"/>
                <a:gd name="T67" fmla="*/ 85 h 143"/>
                <a:gd name="T68" fmla="*/ 29 w 231"/>
                <a:gd name="T69" fmla="*/ 85 h 143"/>
                <a:gd name="T70" fmla="*/ 16 w 231"/>
                <a:gd name="T71" fmla="*/ 85 h 143"/>
                <a:gd name="T72" fmla="*/ 0 w 231"/>
                <a:gd name="T73" fmla="*/ 101 h 143"/>
                <a:gd name="T74" fmla="*/ 0 w 231"/>
                <a:gd name="T75" fmla="*/ 114 h 143"/>
                <a:gd name="T76" fmla="*/ 16 w 231"/>
                <a:gd name="T77" fmla="*/ 143 h 143"/>
                <a:gd name="T78" fmla="*/ 16 w 231"/>
                <a:gd name="T7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1" h="143">
                  <a:moveTo>
                    <a:pt x="14" y="143"/>
                  </a:moveTo>
                  <a:lnTo>
                    <a:pt x="16" y="130"/>
                  </a:lnTo>
                  <a:lnTo>
                    <a:pt x="16" y="114"/>
                  </a:lnTo>
                  <a:lnTo>
                    <a:pt x="29" y="101"/>
                  </a:lnTo>
                  <a:lnTo>
                    <a:pt x="43" y="101"/>
                  </a:lnTo>
                  <a:lnTo>
                    <a:pt x="58" y="101"/>
                  </a:lnTo>
                  <a:lnTo>
                    <a:pt x="72" y="101"/>
                  </a:lnTo>
                  <a:lnTo>
                    <a:pt x="85" y="101"/>
                  </a:lnTo>
                  <a:lnTo>
                    <a:pt x="101" y="101"/>
                  </a:lnTo>
                  <a:lnTo>
                    <a:pt x="115" y="85"/>
                  </a:lnTo>
                  <a:lnTo>
                    <a:pt x="130" y="85"/>
                  </a:lnTo>
                  <a:lnTo>
                    <a:pt x="159" y="85"/>
                  </a:lnTo>
                  <a:lnTo>
                    <a:pt x="173" y="101"/>
                  </a:lnTo>
                  <a:lnTo>
                    <a:pt x="188" y="114"/>
                  </a:lnTo>
                  <a:lnTo>
                    <a:pt x="188" y="101"/>
                  </a:lnTo>
                  <a:lnTo>
                    <a:pt x="202" y="85"/>
                  </a:lnTo>
                  <a:lnTo>
                    <a:pt x="217" y="72"/>
                  </a:lnTo>
                  <a:lnTo>
                    <a:pt x="217" y="43"/>
                  </a:lnTo>
                  <a:lnTo>
                    <a:pt x="202" y="43"/>
                  </a:lnTo>
                  <a:lnTo>
                    <a:pt x="202" y="29"/>
                  </a:lnTo>
                  <a:lnTo>
                    <a:pt x="217" y="14"/>
                  </a:lnTo>
                  <a:lnTo>
                    <a:pt x="231" y="0"/>
                  </a:lnTo>
                  <a:lnTo>
                    <a:pt x="217" y="0"/>
                  </a:lnTo>
                  <a:lnTo>
                    <a:pt x="202" y="14"/>
                  </a:lnTo>
                  <a:lnTo>
                    <a:pt x="188" y="14"/>
                  </a:lnTo>
                  <a:lnTo>
                    <a:pt x="173" y="14"/>
                  </a:lnTo>
                  <a:lnTo>
                    <a:pt x="159" y="29"/>
                  </a:lnTo>
                  <a:lnTo>
                    <a:pt x="144" y="29"/>
                  </a:lnTo>
                  <a:lnTo>
                    <a:pt x="130" y="43"/>
                  </a:lnTo>
                  <a:lnTo>
                    <a:pt x="115" y="58"/>
                  </a:lnTo>
                  <a:lnTo>
                    <a:pt x="115" y="72"/>
                  </a:lnTo>
                  <a:lnTo>
                    <a:pt x="101" y="85"/>
                  </a:lnTo>
                  <a:lnTo>
                    <a:pt x="85" y="85"/>
                  </a:lnTo>
                  <a:lnTo>
                    <a:pt x="72" y="85"/>
                  </a:lnTo>
                  <a:lnTo>
                    <a:pt x="29" y="85"/>
                  </a:lnTo>
                  <a:lnTo>
                    <a:pt x="16" y="85"/>
                  </a:lnTo>
                  <a:lnTo>
                    <a:pt x="0" y="101"/>
                  </a:lnTo>
                  <a:lnTo>
                    <a:pt x="0" y="114"/>
                  </a:lnTo>
                  <a:lnTo>
                    <a:pt x="16" y="143"/>
                  </a:lnTo>
                  <a:lnTo>
                    <a:pt x="16" y="143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7" name="Freeform 47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394200" y="3557588"/>
              <a:ext cx="69850" cy="55563"/>
            </a:xfrm>
            <a:custGeom>
              <a:avLst/>
              <a:gdLst>
                <a:gd name="T0" fmla="*/ 72 w 72"/>
                <a:gd name="T1" fmla="*/ 72 h 72"/>
                <a:gd name="T2" fmla="*/ 58 w 72"/>
                <a:gd name="T3" fmla="*/ 72 h 72"/>
                <a:gd name="T4" fmla="*/ 29 w 72"/>
                <a:gd name="T5" fmla="*/ 72 h 72"/>
                <a:gd name="T6" fmla="*/ 29 w 72"/>
                <a:gd name="T7" fmla="*/ 56 h 72"/>
                <a:gd name="T8" fmla="*/ 0 w 72"/>
                <a:gd name="T9" fmla="*/ 56 h 72"/>
                <a:gd name="T10" fmla="*/ 0 w 72"/>
                <a:gd name="T11" fmla="*/ 29 h 72"/>
                <a:gd name="T12" fmla="*/ 0 w 72"/>
                <a:gd name="T13" fmla="*/ 14 h 72"/>
                <a:gd name="T14" fmla="*/ 14 w 72"/>
                <a:gd name="T15" fmla="*/ 14 h 72"/>
                <a:gd name="T16" fmla="*/ 14 w 72"/>
                <a:gd name="T17" fmla="*/ 0 h 72"/>
                <a:gd name="T18" fmla="*/ 29 w 72"/>
                <a:gd name="T19" fmla="*/ 14 h 72"/>
                <a:gd name="T20" fmla="*/ 43 w 72"/>
                <a:gd name="T21" fmla="*/ 0 h 72"/>
                <a:gd name="T22" fmla="*/ 58 w 72"/>
                <a:gd name="T23" fmla="*/ 14 h 72"/>
                <a:gd name="T24" fmla="*/ 72 w 72"/>
                <a:gd name="T25" fmla="*/ 14 h 72"/>
                <a:gd name="T26" fmla="*/ 72 w 72"/>
                <a:gd name="T27" fmla="*/ 29 h 72"/>
                <a:gd name="T28" fmla="*/ 72 w 72"/>
                <a:gd name="T29" fmla="*/ 43 h 72"/>
                <a:gd name="T30" fmla="*/ 72 w 72"/>
                <a:gd name="T31" fmla="*/ 56 h 72"/>
                <a:gd name="T32" fmla="*/ 72 w 72"/>
                <a:gd name="T33" fmla="*/ 72 h 72"/>
                <a:gd name="T34" fmla="*/ 58 w 72"/>
                <a:gd name="T35" fmla="*/ 72 h 72"/>
                <a:gd name="T36" fmla="*/ 72 w 72"/>
                <a:gd name="T37" fmla="*/ 72 h 72"/>
                <a:gd name="T38" fmla="*/ 72 w 72"/>
                <a:gd name="T3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72">
                  <a:moveTo>
                    <a:pt x="72" y="72"/>
                  </a:moveTo>
                  <a:lnTo>
                    <a:pt x="58" y="72"/>
                  </a:lnTo>
                  <a:lnTo>
                    <a:pt x="29" y="72"/>
                  </a:lnTo>
                  <a:lnTo>
                    <a:pt x="29" y="56"/>
                  </a:lnTo>
                  <a:lnTo>
                    <a:pt x="0" y="56"/>
                  </a:lnTo>
                  <a:lnTo>
                    <a:pt x="0" y="29"/>
                  </a:lnTo>
                  <a:lnTo>
                    <a:pt x="0" y="14"/>
                  </a:lnTo>
                  <a:lnTo>
                    <a:pt x="14" y="14"/>
                  </a:lnTo>
                  <a:lnTo>
                    <a:pt x="14" y="0"/>
                  </a:lnTo>
                  <a:lnTo>
                    <a:pt x="29" y="14"/>
                  </a:lnTo>
                  <a:lnTo>
                    <a:pt x="43" y="0"/>
                  </a:lnTo>
                  <a:lnTo>
                    <a:pt x="58" y="14"/>
                  </a:lnTo>
                  <a:lnTo>
                    <a:pt x="72" y="14"/>
                  </a:lnTo>
                  <a:lnTo>
                    <a:pt x="72" y="29"/>
                  </a:lnTo>
                  <a:lnTo>
                    <a:pt x="72" y="43"/>
                  </a:lnTo>
                  <a:lnTo>
                    <a:pt x="72" y="56"/>
                  </a:lnTo>
                  <a:lnTo>
                    <a:pt x="72" y="72"/>
                  </a:lnTo>
                  <a:lnTo>
                    <a:pt x="58" y="72"/>
                  </a:lnTo>
                  <a:lnTo>
                    <a:pt x="72" y="72"/>
                  </a:lnTo>
                  <a:lnTo>
                    <a:pt x="72" y="72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8" name="Freeform 48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4394200" y="3557588"/>
              <a:ext cx="69850" cy="55563"/>
            </a:xfrm>
            <a:custGeom>
              <a:avLst/>
              <a:gdLst>
                <a:gd name="T0" fmla="*/ 72 w 72"/>
                <a:gd name="T1" fmla="*/ 72 h 72"/>
                <a:gd name="T2" fmla="*/ 58 w 72"/>
                <a:gd name="T3" fmla="*/ 72 h 72"/>
                <a:gd name="T4" fmla="*/ 29 w 72"/>
                <a:gd name="T5" fmla="*/ 72 h 72"/>
                <a:gd name="T6" fmla="*/ 29 w 72"/>
                <a:gd name="T7" fmla="*/ 56 h 72"/>
                <a:gd name="T8" fmla="*/ 0 w 72"/>
                <a:gd name="T9" fmla="*/ 56 h 72"/>
                <a:gd name="T10" fmla="*/ 0 w 72"/>
                <a:gd name="T11" fmla="*/ 29 h 72"/>
                <a:gd name="T12" fmla="*/ 0 w 72"/>
                <a:gd name="T13" fmla="*/ 14 h 72"/>
                <a:gd name="T14" fmla="*/ 14 w 72"/>
                <a:gd name="T15" fmla="*/ 14 h 72"/>
                <a:gd name="T16" fmla="*/ 14 w 72"/>
                <a:gd name="T17" fmla="*/ 0 h 72"/>
                <a:gd name="T18" fmla="*/ 29 w 72"/>
                <a:gd name="T19" fmla="*/ 14 h 72"/>
                <a:gd name="T20" fmla="*/ 43 w 72"/>
                <a:gd name="T21" fmla="*/ 0 h 72"/>
                <a:gd name="T22" fmla="*/ 58 w 72"/>
                <a:gd name="T23" fmla="*/ 14 h 72"/>
                <a:gd name="T24" fmla="*/ 72 w 72"/>
                <a:gd name="T25" fmla="*/ 14 h 72"/>
                <a:gd name="T26" fmla="*/ 72 w 72"/>
                <a:gd name="T27" fmla="*/ 29 h 72"/>
                <a:gd name="T28" fmla="*/ 72 w 72"/>
                <a:gd name="T29" fmla="*/ 43 h 72"/>
                <a:gd name="T30" fmla="*/ 72 w 72"/>
                <a:gd name="T31" fmla="*/ 56 h 72"/>
                <a:gd name="T32" fmla="*/ 72 w 72"/>
                <a:gd name="T33" fmla="*/ 72 h 72"/>
                <a:gd name="T34" fmla="*/ 58 w 72"/>
                <a:gd name="T35" fmla="*/ 72 h 72"/>
                <a:gd name="T36" fmla="*/ 72 w 72"/>
                <a:gd name="T37" fmla="*/ 72 h 72"/>
                <a:gd name="T38" fmla="*/ 72 w 72"/>
                <a:gd name="T3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72">
                  <a:moveTo>
                    <a:pt x="72" y="72"/>
                  </a:moveTo>
                  <a:lnTo>
                    <a:pt x="58" y="72"/>
                  </a:lnTo>
                  <a:lnTo>
                    <a:pt x="29" y="72"/>
                  </a:lnTo>
                  <a:lnTo>
                    <a:pt x="29" y="56"/>
                  </a:lnTo>
                  <a:lnTo>
                    <a:pt x="0" y="56"/>
                  </a:lnTo>
                  <a:lnTo>
                    <a:pt x="0" y="29"/>
                  </a:lnTo>
                  <a:lnTo>
                    <a:pt x="0" y="14"/>
                  </a:lnTo>
                  <a:lnTo>
                    <a:pt x="14" y="14"/>
                  </a:lnTo>
                  <a:lnTo>
                    <a:pt x="14" y="0"/>
                  </a:lnTo>
                  <a:lnTo>
                    <a:pt x="29" y="14"/>
                  </a:lnTo>
                  <a:lnTo>
                    <a:pt x="43" y="0"/>
                  </a:lnTo>
                  <a:lnTo>
                    <a:pt x="58" y="14"/>
                  </a:lnTo>
                  <a:lnTo>
                    <a:pt x="72" y="14"/>
                  </a:lnTo>
                  <a:lnTo>
                    <a:pt x="72" y="29"/>
                  </a:lnTo>
                  <a:lnTo>
                    <a:pt x="72" y="43"/>
                  </a:lnTo>
                  <a:lnTo>
                    <a:pt x="72" y="56"/>
                  </a:lnTo>
                  <a:lnTo>
                    <a:pt x="72" y="72"/>
                  </a:lnTo>
                  <a:lnTo>
                    <a:pt x="58" y="72"/>
                  </a:lnTo>
                  <a:lnTo>
                    <a:pt x="72" y="72"/>
                  </a:lnTo>
                  <a:lnTo>
                    <a:pt x="72" y="72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9" name="Freeform 49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487863" y="3497263"/>
              <a:ext cx="141288" cy="139700"/>
            </a:xfrm>
            <a:custGeom>
              <a:avLst/>
              <a:gdLst>
                <a:gd name="T0" fmla="*/ 72 w 143"/>
                <a:gd name="T1" fmla="*/ 173 h 173"/>
                <a:gd name="T2" fmla="*/ 43 w 143"/>
                <a:gd name="T3" fmla="*/ 159 h 173"/>
                <a:gd name="T4" fmla="*/ 58 w 143"/>
                <a:gd name="T5" fmla="*/ 159 h 173"/>
                <a:gd name="T6" fmla="*/ 58 w 143"/>
                <a:gd name="T7" fmla="*/ 144 h 173"/>
                <a:gd name="T8" fmla="*/ 43 w 143"/>
                <a:gd name="T9" fmla="*/ 144 h 173"/>
                <a:gd name="T10" fmla="*/ 14 w 143"/>
                <a:gd name="T11" fmla="*/ 144 h 173"/>
                <a:gd name="T12" fmla="*/ 0 w 143"/>
                <a:gd name="T13" fmla="*/ 130 h 173"/>
                <a:gd name="T14" fmla="*/ 0 w 143"/>
                <a:gd name="T15" fmla="*/ 117 h 173"/>
                <a:gd name="T16" fmla="*/ 14 w 143"/>
                <a:gd name="T17" fmla="*/ 103 h 173"/>
                <a:gd name="T18" fmla="*/ 0 w 143"/>
                <a:gd name="T19" fmla="*/ 88 h 173"/>
                <a:gd name="T20" fmla="*/ 0 w 143"/>
                <a:gd name="T21" fmla="*/ 72 h 173"/>
                <a:gd name="T22" fmla="*/ 14 w 143"/>
                <a:gd name="T23" fmla="*/ 59 h 173"/>
                <a:gd name="T24" fmla="*/ 29 w 143"/>
                <a:gd name="T25" fmla="*/ 59 h 173"/>
                <a:gd name="T26" fmla="*/ 43 w 143"/>
                <a:gd name="T27" fmla="*/ 43 h 173"/>
                <a:gd name="T28" fmla="*/ 43 w 143"/>
                <a:gd name="T29" fmla="*/ 30 h 173"/>
                <a:gd name="T30" fmla="*/ 58 w 143"/>
                <a:gd name="T31" fmla="*/ 30 h 173"/>
                <a:gd name="T32" fmla="*/ 58 w 143"/>
                <a:gd name="T33" fmla="*/ 43 h 173"/>
                <a:gd name="T34" fmla="*/ 43 w 143"/>
                <a:gd name="T35" fmla="*/ 59 h 173"/>
                <a:gd name="T36" fmla="*/ 58 w 143"/>
                <a:gd name="T37" fmla="*/ 72 h 173"/>
                <a:gd name="T38" fmla="*/ 72 w 143"/>
                <a:gd name="T39" fmla="*/ 72 h 173"/>
                <a:gd name="T40" fmla="*/ 72 w 143"/>
                <a:gd name="T41" fmla="*/ 59 h 173"/>
                <a:gd name="T42" fmla="*/ 72 w 143"/>
                <a:gd name="T43" fmla="*/ 43 h 173"/>
                <a:gd name="T44" fmla="*/ 85 w 143"/>
                <a:gd name="T45" fmla="*/ 43 h 173"/>
                <a:gd name="T46" fmla="*/ 101 w 143"/>
                <a:gd name="T47" fmla="*/ 43 h 173"/>
                <a:gd name="T48" fmla="*/ 114 w 143"/>
                <a:gd name="T49" fmla="*/ 30 h 173"/>
                <a:gd name="T50" fmla="*/ 101 w 143"/>
                <a:gd name="T51" fmla="*/ 16 h 173"/>
                <a:gd name="T52" fmla="*/ 85 w 143"/>
                <a:gd name="T53" fmla="*/ 16 h 173"/>
                <a:gd name="T54" fmla="*/ 101 w 143"/>
                <a:gd name="T55" fmla="*/ 0 h 173"/>
                <a:gd name="T56" fmla="*/ 114 w 143"/>
                <a:gd name="T57" fmla="*/ 0 h 173"/>
                <a:gd name="T58" fmla="*/ 143 w 143"/>
                <a:gd name="T59" fmla="*/ 0 h 173"/>
                <a:gd name="T60" fmla="*/ 130 w 143"/>
                <a:gd name="T61" fmla="*/ 16 h 173"/>
                <a:gd name="T62" fmla="*/ 143 w 143"/>
                <a:gd name="T63" fmla="*/ 16 h 173"/>
                <a:gd name="T64" fmla="*/ 130 w 143"/>
                <a:gd name="T65" fmla="*/ 30 h 173"/>
                <a:gd name="T66" fmla="*/ 143 w 143"/>
                <a:gd name="T67" fmla="*/ 59 h 173"/>
                <a:gd name="T68" fmla="*/ 130 w 143"/>
                <a:gd name="T69" fmla="*/ 72 h 173"/>
                <a:gd name="T70" fmla="*/ 101 w 143"/>
                <a:gd name="T71" fmla="*/ 103 h 173"/>
                <a:gd name="T72" fmla="*/ 114 w 143"/>
                <a:gd name="T73" fmla="*/ 117 h 173"/>
                <a:gd name="T74" fmla="*/ 101 w 143"/>
                <a:gd name="T75" fmla="*/ 144 h 173"/>
                <a:gd name="T76" fmla="*/ 85 w 143"/>
                <a:gd name="T77" fmla="*/ 144 h 173"/>
                <a:gd name="T78" fmla="*/ 72 w 143"/>
                <a:gd name="T79" fmla="*/ 159 h 173"/>
                <a:gd name="T80" fmla="*/ 85 w 143"/>
                <a:gd name="T81" fmla="*/ 173 h 173"/>
                <a:gd name="T82" fmla="*/ 72 w 143"/>
                <a:gd name="T83" fmla="*/ 173 h 173"/>
                <a:gd name="T84" fmla="*/ 72 w 143"/>
                <a:gd name="T85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3" h="173">
                  <a:moveTo>
                    <a:pt x="72" y="173"/>
                  </a:moveTo>
                  <a:lnTo>
                    <a:pt x="43" y="159"/>
                  </a:lnTo>
                  <a:lnTo>
                    <a:pt x="58" y="159"/>
                  </a:lnTo>
                  <a:lnTo>
                    <a:pt x="58" y="144"/>
                  </a:lnTo>
                  <a:lnTo>
                    <a:pt x="43" y="144"/>
                  </a:lnTo>
                  <a:lnTo>
                    <a:pt x="14" y="144"/>
                  </a:lnTo>
                  <a:lnTo>
                    <a:pt x="0" y="130"/>
                  </a:lnTo>
                  <a:lnTo>
                    <a:pt x="0" y="117"/>
                  </a:lnTo>
                  <a:lnTo>
                    <a:pt x="14" y="103"/>
                  </a:lnTo>
                  <a:lnTo>
                    <a:pt x="0" y="88"/>
                  </a:lnTo>
                  <a:lnTo>
                    <a:pt x="0" y="72"/>
                  </a:lnTo>
                  <a:lnTo>
                    <a:pt x="14" y="59"/>
                  </a:lnTo>
                  <a:lnTo>
                    <a:pt x="29" y="59"/>
                  </a:lnTo>
                  <a:lnTo>
                    <a:pt x="43" y="43"/>
                  </a:lnTo>
                  <a:lnTo>
                    <a:pt x="43" y="30"/>
                  </a:lnTo>
                  <a:lnTo>
                    <a:pt x="58" y="30"/>
                  </a:lnTo>
                  <a:lnTo>
                    <a:pt x="58" y="43"/>
                  </a:lnTo>
                  <a:lnTo>
                    <a:pt x="43" y="59"/>
                  </a:lnTo>
                  <a:lnTo>
                    <a:pt x="58" y="72"/>
                  </a:lnTo>
                  <a:lnTo>
                    <a:pt x="72" y="72"/>
                  </a:lnTo>
                  <a:lnTo>
                    <a:pt x="72" y="59"/>
                  </a:lnTo>
                  <a:lnTo>
                    <a:pt x="72" y="43"/>
                  </a:lnTo>
                  <a:lnTo>
                    <a:pt x="85" y="43"/>
                  </a:lnTo>
                  <a:lnTo>
                    <a:pt x="101" y="43"/>
                  </a:lnTo>
                  <a:lnTo>
                    <a:pt x="114" y="30"/>
                  </a:lnTo>
                  <a:lnTo>
                    <a:pt x="101" y="16"/>
                  </a:lnTo>
                  <a:lnTo>
                    <a:pt x="85" y="16"/>
                  </a:lnTo>
                  <a:lnTo>
                    <a:pt x="101" y="0"/>
                  </a:lnTo>
                  <a:lnTo>
                    <a:pt x="114" y="0"/>
                  </a:lnTo>
                  <a:lnTo>
                    <a:pt x="143" y="0"/>
                  </a:lnTo>
                  <a:lnTo>
                    <a:pt x="130" y="16"/>
                  </a:lnTo>
                  <a:lnTo>
                    <a:pt x="143" y="16"/>
                  </a:lnTo>
                  <a:lnTo>
                    <a:pt x="130" y="30"/>
                  </a:lnTo>
                  <a:lnTo>
                    <a:pt x="143" y="59"/>
                  </a:lnTo>
                  <a:lnTo>
                    <a:pt x="130" y="72"/>
                  </a:lnTo>
                  <a:lnTo>
                    <a:pt x="101" y="103"/>
                  </a:lnTo>
                  <a:lnTo>
                    <a:pt x="114" y="117"/>
                  </a:lnTo>
                  <a:lnTo>
                    <a:pt x="101" y="144"/>
                  </a:lnTo>
                  <a:lnTo>
                    <a:pt x="85" y="144"/>
                  </a:lnTo>
                  <a:lnTo>
                    <a:pt x="72" y="159"/>
                  </a:lnTo>
                  <a:lnTo>
                    <a:pt x="85" y="173"/>
                  </a:lnTo>
                  <a:lnTo>
                    <a:pt x="72" y="173"/>
                  </a:lnTo>
                  <a:lnTo>
                    <a:pt x="72" y="173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70" name="Freeform 50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4487863" y="3497263"/>
              <a:ext cx="141288" cy="139700"/>
            </a:xfrm>
            <a:custGeom>
              <a:avLst/>
              <a:gdLst>
                <a:gd name="T0" fmla="*/ 72 w 143"/>
                <a:gd name="T1" fmla="*/ 173 h 173"/>
                <a:gd name="T2" fmla="*/ 43 w 143"/>
                <a:gd name="T3" fmla="*/ 159 h 173"/>
                <a:gd name="T4" fmla="*/ 58 w 143"/>
                <a:gd name="T5" fmla="*/ 159 h 173"/>
                <a:gd name="T6" fmla="*/ 58 w 143"/>
                <a:gd name="T7" fmla="*/ 144 h 173"/>
                <a:gd name="T8" fmla="*/ 43 w 143"/>
                <a:gd name="T9" fmla="*/ 144 h 173"/>
                <a:gd name="T10" fmla="*/ 14 w 143"/>
                <a:gd name="T11" fmla="*/ 144 h 173"/>
                <a:gd name="T12" fmla="*/ 0 w 143"/>
                <a:gd name="T13" fmla="*/ 130 h 173"/>
                <a:gd name="T14" fmla="*/ 0 w 143"/>
                <a:gd name="T15" fmla="*/ 117 h 173"/>
                <a:gd name="T16" fmla="*/ 14 w 143"/>
                <a:gd name="T17" fmla="*/ 103 h 173"/>
                <a:gd name="T18" fmla="*/ 0 w 143"/>
                <a:gd name="T19" fmla="*/ 88 h 173"/>
                <a:gd name="T20" fmla="*/ 0 w 143"/>
                <a:gd name="T21" fmla="*/ 72 h 173"/>
                <a:gd name="T22" fmla="*/ 14 w 143"/>
                <a:gd name="T23" fmla="*/ 59 h 173"/>
                <a:gd name="T24" fmla="*/ 29 w 143"/>
                <a:gd name="T25" fmla="*/ 59 h 173"/>
                <a:gd name="T26" fmla="*/ 43 w 143"/>
                <a:gd name="T27" fmla="*/ 43 h 173"/>
                <a:gd name="T28" fmla="*/ 43 w 143"/>
                <a:gd name="T29" fmla="*/ 30 h 173"/>
                <a:gd name="T30" fmla="*/ 58 w 143"/>
                <a:gd name="T31" fmla="*/ 30 h 173"/>
                <a:gd name="T32" fmla="*/ 58 w 143"/>
                <a:gd name="T33" fmla="*/ 43 h 173"/>
                <a:gd name="T34" fmla="*/ 43 w 143"/>
                <a:gd name="T35" fmla="*/ 59 h 173"/>
                <a:gd name="T36" fmla="*/ 58 w 143"/>
                <a:gd name="T37" fmla="*/ 72 h 173"/>
                <a:gd name="T38" fmla="*/ 72 w 143"/>
                <a:gd name="T39" fmla="*/ 72 h 173"/>
                <a:gd name="T40" fmla="*/ 72 w 143"/>
                <a:gd name="T41" fmla="*/ 59 h 173"/>
                <a:gd name="T42" fmla="*/ 72 w 143"/>
                <a:gd name="T43" fmla="*/ 43 h 173"/>
                <a:gd name="T44" fmla="*/ 85 w 143"/>
                <a:gd name="T45" fmla="*/ 43 h 173"/>
                <a:gd name="T46" fmla="*/ 101 w 143"/>
                <a:gd name="T47" fmla="*/ 43 h 173"/>
                <a:gd name="T48" fmla="*/ 114 w 143"/>
                <a:gd name="T49" fmla="*/ 30 h 173"/>
                <a:gd name="T50" fmla="*/ 101 w 143"/>
                <a:gd name="T51" fmla="*/ 16 h 173"/>
                <a:gd name="T52" fmla="*/ 85 w 143"/>
                <a:gd name="T53" fmla="*/ 16 h 173"/>
                <a:gd name="T54" fmla="*/ 101 w 143"/>
                <a:gd name="T55" fmla="*/ 0 h 173"/>
                <a:gd name="T56" fmla="*/ 114 w 143"/>
                <a:gd name="T57" fmla="*/ 0 h 173"/>
                <a:gd name="T58" fmla="*/ 143 w 143"/>
                <a:gd name="T59" fmla="*/ 0 h 173"/>
                <a:gd name="T60" fmla="*/ 130 w 143"/>
                <a:gd name="T61" fmla="*/ 16 h 173"/>
                <a:gd name="T62" fmla="*/ 143 w 143"/>
                <a:gd name="T63" fmla="*/ 16 h 173"/>
                <a:gd name="T64" fmla="*/ 130 w 143"/>
                <a:gd name="T65" fmla="*/ 30 h 173"/>
                <a:gd name="T66" fmla="*/ 143 w 143"/>
                <a:gd name="T67" fmla="*/ 59 h 173"/>
                <a:gd name="T68" fmla="*/ 130 w 143"/>
                <a:gd name="T69" fmla="*/ 72 h 173"/>
                <a:gd name="T70" fmla="*/ 101 w 143"/>
                <a:gd name="T71" fmla="*/ 103 h 173"/>
                <a:gd name="T72" fmla="*/ 114 w 143"/>
                <a:gd name="T73" fmla="*/ 117 h 173"/>
                <a:gd name="T74" fmla="*/ 101 w 143"/>
                <a:gd name="T75" fmla="*/ 144 h 173"/>
                <a:gd name="T76" fmla="*/ 85 w 143"/>
                <a:gd name="T77" fmla="*/ 144 h 173"/>
                <a:gd name="T78" fmla="*/ 72 w 143"/>
                <a:gd name="T79" fmla="*/ 159 h 173"/>
                <a:gd name="T80" fmla="*/ 85 w 143"/>
                <a:gd name="T81" fmla="*/ 173 h 173"/>
                <a:gd name="T82" fmla="*/ 72 w 143"/>
                <a:gd name="T83" fmla="*/ 173 h 173"/>
                <a:gd name="T84" fmla="*/ 72 w 143"/>
                <a:gd name="T85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3" h="173">
                  <a:moveTo>
                    <a:pt x="72" y="173"/>
                  </a:moveTo>
                  <a:lnTo>
                    <a:pt x="43" y="159"/>
                  </a:lnTo>
                  <a:lnTo>
                    <a:pt x="58" y="159"/>
                  </a:lnTo>
                  <a:lnTo>
                    <a:pt x="58" y="144"/>
                  </a:lnTo>
                  <a:lnTo>
                    <a:pt x="43" y="144"/>
                  </a:lnTo>
                  <a:lnTo>
                    <a:pt x="14" y="144"/>
                  </a:lnTo>
                  <a:lnTo>
                    <a:pt x="0" y="130"/>
                  </a:lnTo>
                  <a:lnTo>
                    <a:pt x="0" y="117"/>
                  </a:lnTo>
                  <a:lnTo>
                    <a:pt x="14" y="103"/>
                  </a:lnTo>
                  <a:lnTo>
                    <a:pt x="0" y="88"/>
                  </a:lnTo>
                  <a:lnTo>
                    <a:pt x="0" y="72"/>
                  </a:lnTo>
                  <a:lnTo>
                    <a:pt x="14" y="59"/>
                  </a:lnTo>
                  <a:lnTo>
                    <a:pt x="29" y="59"/>
                  </a:lnTo>
                  <a:lnTo>
                    <a:pt x="43" y="43"/>
                  </a:lnTo>
                  <a:lnTo>
                    <a:pt x="43" y="30"/>
                  </a:lnTo>
                  <a:lnTo>
                    <a:pt x="58" y="30"/>
                  </a:lnTo>
                  <a:lnTo>
                    <a:pt x="58" y="43"/>
                  </a:lnTo>
                  <a:lnTo>
                    <a:pt x="43" y="59"/>
                  </a:lnTo>
                  <a:lnTo>
                    <a:pt x="58" y="72"/>
                  </a:lnTo>
                  <a:lnTo>
                    <a:pt x="72" y="72"/>
                  </a:lnTo>
                  <a:lnTo>
                    <a:pt x="72" y="59"/>
                  </a:lnTo>
                  <a:lnTo>
                    <a:pt x="72" y="43"/>
                  </a:lnTo>
                  <a:lnTo>
                    <a:pt x="85" y="43"/>
                  </a:lnTo>
                  <a:lnTo>
                    <a:pt x="101" y="43"/>
                  </a:lnTo>
                  <a:lnTo>
                    <a:pt x="114" y="30"/>
                  </a:lnTo>
                  <a:lnTo>
                    <a:pt x="101" y="16"/>
                  </a:lnTo>
                  <a:lnTo>
                    <a:pt x="85" y="16"/>
                  </a:lnTo>
                  <a:lnTo>
                    <a:pt x="101" y="0"/>
                  </a:lnTo>
                  <a:lnTo>
                    <a:pt x="114" y="0"/>
                  </a:lnTo>
                  <a:lnTo>
                    <a:pt x="143" y="0"/>
                  </a:lnTo>
                  <a:lnTo>
                    <a:pt x="130" y="16"/>
                  </a:lnTo>
                  <a:lnTo>
                    <a:pt x="143" y="16"/>
                  </a:lnTo>
                  <a:lnTo>
                    <a:pt x="130" y="30"/>
                  </a:lnTo>
                  <a:lnTo>
                    <a:pt x="143" y="59"/>
                  </a:lnTo>
                  <a:lnTo>
                    <a:pt x="130" y="72"/>
                  </a:lnTo>
                  <a:lnTo>
                    <a:pt x="101" y="103"/>
                  </a:lnTo>
                  <a:lnTo>
                    <a:pt x="114" y="117"/>
                  </a:lnTo>
                  <a:lnTo>
                    <a:pt x="101" y="144"/>
                  </a:lnTo>
                  <a:lnTo>
                    <a:pt x="85" y="144"/>
                  </a:lnTo>
                  <a:lnTo>
                    <a:pt x="72" y="159"/>
                  </a:lnTo>
                  <a:lnTo>
                    <a:pt x="85" y="173"/>
                  </a:lnTo>
                  <a:lnTo>
                    <a:pt x="72" y="173"/>
                  </a:lnTo>
                  <a:lnTo>
                    <a:pt x="72" y="173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71" name="Freeform 51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4471988" y="3648076"/>
              <a:ext cx="57150" cy="36513"/>
            </a:xfrm>
            <a:custGeom>
              <a:avLst/>
              <a:gdLst>
                <a:gd name="T0" fmla="*/ 45 w 59"/>
                <a:gd name="T1" fmla="*/ 44 h 44"/>
                <a:gd name="T2" fmla="*/ 30 w 59"/>
                <a:gd name="T3" fmla="*/ 44 h 44"/>
                <a:gd name="T4" fmla="*/ 16 w 59"/>
                <a:gd name="T5" fmla="*/ 29 h 44"/>
                <a:gd name="T6" fmla="*/ 0 w 59"/>
                <a:gd name="T7" fmla="*/ 15 h 44"/>
                <a:gd name="T8" fmla="*/ 0 w 59"/>
                <a:gd name="T9" fmla="*/ 0 h 44"/>
                <a:gd name="T10" fmla="*/ 16 w 59"/>
                <a:gd name="T11" fmla="*/ 0 h 44"/>
                <a:gd name="T12" fmla="*/ 30 w 59"/>
                <a:gd name="T13" fmla="*/ 0 h 44"/>
                <a:gd name="T14" fmla="*/ 30 w 59"/>
                <a:gd name="T15" fmla="*/ 15 h 44"/>
                <a:gd name="T16" fmla="*/ 45 w 59"/>
                <a:gd name="T17" fmla="*/ 15 h 44"/>
                <a:gd name="T18" fmla="*/ 59 w 59"/>
                <a:gd name="T19" fmla="*/ 29 h 44"/>
                <a:gd name="T20" fmla="*/ 59 w 59"/>
                <a:gd name="T21" fmla="*/ 44 h 44"/>
                <a:gd name="T22" fmla="*/ 45 w 59"/>
                <a:gd name="T23" fmla="*/ 44 h 44"/>
                <a:gd name="T24" fmla="*/ 45 w 59"/>
                <a:gd name="T2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" h="44">
                  <a:moveTo>
                    <a:pt x="45" y="44"/>
                  </a:moveTo>
                  <a:lnTo>
                    <a:pt x="30" y="44"/>
                  </a:lnTo>
                  <a:lnTo>
                    <a:pt x="16" y="29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6" y="0"/>
                  </a:lnTo>
                  <a:lnTo>
                    <a:pt x="30" y="0"/>
                  </a:lnTo>
                  <a:lnTo>
                    <a:pt x="30" y="15"/>
                  </a:lnTo>
                  <a:lnTo>
                    <a:pt x="45" y="15"/>
                  </a:lnTo>
                  <a:lnTo>
                    <a:pt x="59" y="29"/>
                  </a:lnTo>
                  <a:lnTo>
                    <a:pt x="59" y="44"/>
                  </a:lnTo>
                  <a:lnTo>
                    <a:pt x="45" y="44"/>
                  </a:lnTo>
                  <a:lnTo>
                    <a:pt x="45" y="44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72" name="Freeform 52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4471988" y="3648076"/>
              <a:ext cx="57150" cy="36513"/>
            </a:xfrm>
            <a:custGeom>
              <a:avLst/>
              <a:gdLst>
                <a:gd name="T0" fmla="*/ 45 w 59"/>
                <a:gd name="T1" fmla="*/ 44 h 44"/>
                <a:gd name="T2" fmla="*/ 30 w 59"/>
                <a:gd name="T3" fmla="*/ 44 h 44"/>
                <a:gd name="T4" fmla="*/ 16 w 59"/>
                <a:gd name="T5" fmla="*/ 29 h 44"/>
                <a:gd name="T6" fmla="*/ 0 w 59"/>
                <a:gd name="T7" fmla="*/ 15 h 44"/>
                <a:gd name="T8" fmla="*/ 0 w 59"/>
                <a:gd name="T9" fmla="*/ 0 h 44"/>
                <a:gd name="T10" fmla="*/ 16 w 59"/>
                <a:gd name="T11" fmla="*/ 0 h 44"/>
                <a:gd name="T12" fmla="*/ 30 w 59"/>
                <a:gd name="T13" fmla="*/ 0 h 44"/>
                <a:gd name="T14" fmla="*/ 30 w 59"/>
                <a:gd name="T15" fmla="*/ 15 h 44"/>
                <a:gd name="T16" fmla="*/ 45 w 59"/>
                <a:gd name="T17" fmla="*/ 15 h 44"/>
                <a:gd name="T18" fmla="*/ 59 w 59"/>
                <a:gd name="T19" fmla="*/ 29 h 44"/>
                <a:gd name="T20" fmla="*/ 59 w 59"/>
                <a:gd name="T21" fmla="*/ 44 h 44"/>
                <a:gd name="T22" fmla="*/ 45 w 59"/>
                <a:gd name="T23" fmla="*/ 44 h 44"/>
                <a:gd name="T24" fmla="*/ 45 w 59"/>
                <a:gd name="T2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" h="44">
                  <a:moveTo>
                    <a:pt x="45" y="44"/>
                  </a:moveTo>
                  <a:lnTo>
                    <a:pt x="30" y="44"/>
                  </a:lnTo>
                  <a:lnTo>
                    <a:pt x="16" y="29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6" y="0"/>
                  </a:lnTo>
                  <a:lnTo>
                    <a:pt x="30" y="0"/>
                  </a:lnTo>
                  <a:lnTo>
                    <a:pt x="30" y="15"/>
                  </a:lnTo>
                  <a:lnTo>
                    <a:pt x="45" y="15"/>
                  </a:lnTo>
                  <a:lnTo>
                    <a:pt x="59" y="29"/>
                  </a:lnTo>
                  <a:lnTo>
                    <a:pt x="59" y="44"/>
                  </a:lnTo>
                  <a:lnTo>
                    <a:pt x="45" y="44"/>
                  </a:lnTo>
                  <a:lnTo>
                    <a:pt x="45" y="44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73" name="Freeform 53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4545013" y="3648076"/>
              <a:ext cx="28575" cy="36513"/>
            </a:xfrm>
            <a:custGeom>
              <a:avLst/>
              <a:gdLst>
                <a:gd name="T0" fmla="*/ 0 w 27"/>
                <a:gd name="T1" fmla="*/ 29 h 44"/>
                <a:gd name="T2" fmla="*/ 0 w 27"/>
                <a:gd name="T3" fmla="*/ 15 h 44"/>
                <a:gd name="T4" fmla="*/ 0 w 27"/>
                <a:gd name="T5" fmla="*/ 0 h 44"/>
                <a:gd name="T6" fmla="*/ 14 w 27"/>
                <a:gd name="T7" fmla="*/ 15 h 44"/>
                <a:gd name="T8" fmla="*/ 27 w 27"/>
                <a:gd name="T9" fmla="*/ 15 h 44"/>
                <a:gd name="T10" fmla="*/ 27 w 27"/>
                <a:gd name="T11" fmla="*/ 29 h 44"/>
                <a:gd name="T12" fmla="*/ 14 w 27"/>
                <a:gd name="T13" fmla="*/ 29 h 44"/>
                <a:gd name="T14" fmla="*/ 14 w 27"/>
                <a:gd name="T15" fmla="*/ 44 h 44"/>
                <a:gd name="T16" fmla="*/ 0 w 27"/>
                <a:gd name="T17" fmla="*/ 29 h 44"/>
                <a:gd name="T18" fmla="*/ 0 w 27"/>
                <a:gd name="T19" fmla="*/ 29 h 44"/>
                <a:gd name="T20" fmla="*/ 0 w 27"/>
                <a:gd name="T21" fmla="*/ 2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44">
                  <a:moveTo>
                    <a:pt x="0" y="29"/>
                  </a:moveTo>
                  <a:lnTo>
                    <a:pt x="0" y="15"/>
                  </a:lnTo>
                  <a:lnTo>
                    <a:pt x="0" y="0"/>
                  </a:lnTo>
                  <a:lnTo>
                    <a:pt x="14" y="15"/>
                  </a:lnTo>
                  <a:lnTo>
                    <a:pt x="27" y="15"/>
                  </a:lnTo>
                  <a:lnTo>
                    <a:pt x="27" y="29"/>
                  </a:lnTo>
                  <a:lnTo>
                    <a:pt x="14" y="29"/>
                  </a:lnTo>
                  <a:lnTo>
                    <a:pt x="14" y="44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74" name="Freeform 54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4545013" y="3648076"/>
              <a:ext cx="28575" cy="36513"/>
            </a:xfrm>
            <a:custGeom>
              <a:avLst/>
              <a:gdLst>
                <a:gd name="T0" fmla="*/ 0 w 27"/>
                <a:gd name="T1" fmla="*/ 29 h 44"/>
                <a:gd name="T2" fmla="*/ 0 w 27"/>
                <a:gd name="T3" fmla="*/ 15 h 44"/>
                <a:gd name="T4" fmla="*/ 0 w 27"/>
                <a:gd name="T5" fmla="*/ 0 h 44"/>
                <a:gd name="T6" fmla="*/ 14 w 27"/>
                <a:gd name="T7" fmla="*/ 15 h 44"/>
                <a:gd name="T8" fmla="*/ 27 w 27"/>
                <a:gd name="T9" fmla="*/ 15 h 44"/>
                <a:gd name="T10" fmla="*/ 27 w 27"/>
                <a:gd name="T11" fmla="*/ 29 h 44"/>
                <a:gd name="T12" fmla="*/ 14 w 27"/>
                <a:gd name="T13" fmla="*/ 29 h 44"/>
                <a:gd name="T14" fmla="*/ 14 w 27"/>
                <a:gd name="T15" fmla="*/ 44 h 44"/>
                <a:gd name="T16" fmla="*/ 0 w 27"/>
                <a:gd name="T17" fmla="*/ 29 h 44"/>
                <a:gd name="T18" fmla="*/ 0 w 27"/>
                <a:gd name="T19" fmla="*/ 2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44">
                  <a:moveTo>
                    <a:pt x="0" y="29"/>
                  </a:moveTo>
                  <a:lnTo>
                    <a:pt x="0" y="15"/>
                  </a:lnTo>
                  <a:lnTo>
                    <a:pt x="0" y="0"/>
                  </a:lnTo>
                  <a:lnTo>
                    <a:pt x="14" y="15"/>
                  </a:lnTo>
                  <a:lnTo>
                    <a:pt x="27" y="15"/>
                  </a:lnTo>
                  <a:lnTo>
                    <a:pt x="27" y="29"/>
                  </a:lnTo>
                  <a:lnTo>
                    <a:pt x="14" y="29"/>
                  </a:lnTo>
                  <a:lnTo>
                    <a:pt x="14" y="44"/>
                  </a:lnTo>
                  <a:lnTo>
                    <a:pt x="0" y="29"/>
                  </a:lnTo>
                  <a:lnTo>
                    <a:pt x="0" y="29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75" name="Freeform 55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4879975" y="4462463"/>
              <a:ext cx="714375" cy="373063"/>
            </a:xfrm>
            <a:custGeom>
              <a:avLst/>
              <a:gdLst>
                <a:gd name="T0" fmla="*/ 115 w 730"/>
                <a:gd name="T1" fmla="*/ 101 h 458"/>
                <a:gd name="T2" fmla="*/ 146 w 730"/>
                <a:gd name="T3" fmla="*/ 115 h 458"/>
                <a:gd name="T4" fmla="*/ 173 w 730"/>
                <a:gd name="T5" fmla="*/ 142 h 458"/>
                <a:gd name="T6" fmla="*/ 218 w 730"/>
                <a:gd name="T7" fmla="*/ 142 h 458"/>
                <a:gd name="T8" fmla="*/ 237 w 730"/>
                <a:gd name="T9" fmla="*/ 142 h 458"/>
                <a:gd name="T10" fmla="*/ 288 w 730"/>
                <a:gd name="T11" fmla="*/ 130 h 458"/>
                <a:gd name="T12" fmla="*/ 288 w 730"/>
                <a:gd name="T13" fmla="*/ 113 h 458"/>
                <a:gd name="T14" fmla="*/ 311 w 730"/>
                <a:gd name="T15" fmla="*/ 97 h 458"/>
                <a:gd name="T16" fmla="*/ 346 w 730"/>
                <a:gd name="T17" fmla="*/ 101 h 458"/>
                <a:gd name="T18" fmla="*/ 390 w 730"/>
                <a:gd name="T19" fmla="*/ 86 h 458"/>
                <a:gd name="T20" fmla="*/ 433 w 730"/>
                <a:gd name="T21" fmla="*/ 59 h 458"/>
                <a:gd name="T22" fmla="*/ 462 w 730"/>
                <a:gd name="T23" fmla="*/ 29 h 458"/>
                <a:gd name="T24" fmla="*/ 478 w 730"/>
                <a:gd name="T25" fmla="*/ 0 h 458"/>
                <a:gd name="T26" fmla="*/ 507 w 730"/>
                <a:gd name="T27" fmla="*/ 0 h 458"/>
                <a:gd name="T28" fmla="*/ 549 w 730"/>
                <a:gd name="T29" fmla="*/ 0 h 458"/>
                <a:gd name="T30" fmla="*/ 576 w 730"/>
                <a:gd name="T31" fmla="*/ 0 h 458"/>
                <a:gd name="T32" fmla="*/ 592 w 730"/>
                <a:gd name="T33" fmla="*/ 14 h 458"/>
                <a:gd name="T34" fmla="*/ 635 w 730"/>
                <a:gd name="T35" fmla="*/ 14 h 458"/>
                <a:gd name="T36" fmla="*/ 670 w 730"/>
                <a:gd name="T37" fmla="*/ 43 h 458"/>
                <a:gd name="T38" fmla="*/ 697 w 730"/>
                <a:gd name="T39" fmla="*/ 43 h 458"/>
                <a:gd name="T40" fmla="*/ 730 w 730"/>
                <a:gd name="T41" fmla="*/ 68 h 458"/>
                <a:gd name="T42" fmla="*/ 726 w 730"/>
                <a:gd name="T43" fmla="*/ 109 h 458"/>
                <a:gd name="T44" fmla="*/ 683 w 730"/>
                <a:gd name="T45" fmla="*/ 142 h 458"/>
                <a:gd name="T46" fmla="*/ 654 w 730"/>
                <a:gd name="T47" fmla="*/ 156 h 458"/>
                <a:gd name="T48" fmla="*/ 639 w 730"/>
                <a:gd name="T49" fmla="*/ 204 h 458"/>
                <a:gd name="T50" fmla="*/ 625 w 730"/>
                <a:gd name="T51" fmla="*/ 233 h 458"/>
                <a:gd name="T52" fmla="*/ 600 w 730"/>
                <a:gd name="T53" fmla="*/ 287 h 458"/>
                <a:gd name="T54" fmla="*/ 571 w 730"/>
                <a:gd name="T55" fmla="*/ 307 h 458"/>
                <a:gd name="T56" fmla="*/ 547 w 730"/>
                <a:gd name="T57" fmla="*/ 340 h 458"/>
                <a:gd name="T58" fmla="*/ 526 w 730"/>
                <a:gd name="T59" fmla="*/ 363 h 458"/>
                <a:gd name="T60" fmla="*/ 511 w 730"/>
                <a:gd name="T61" fmla="*/ 388 h 458"/>
                <a:gd name="T62" fmla="*/ 447 w 730"/>
                <a:gd name="T63" fmla="*/ 373 h 458"/>
                <a:gd name="T64" fmla="*/ 433 w 730"/>
                <a:gd name="T65" fmla="*/ 386 h 458"/>
                <a:gd name="T66" fmla="*/ 390 w 730"/>
                <a:gd name="T67" fmla="*/ 402 h 458"/>
                <a:gd name="T68" fmla="*/ 346 w 730"/>
                <a:gd name="T69" fmla="*/ 402 h 458"/>
                <a:gd name="T70" fmla="*/ 303 w 730"/>
                <a:gd name="T71" fmla="*/ 415 h 458"/>
                <a:gd name="T72" fmla="*/ 276 w 730"/>
                <a:gd name="T73" fmla="*/ 431 h 458"/>
                <a:gd name="T74" fmla="*/ 247 w 730"/>
                <a:gd name="T75" fmla="*/ 458 h 458"/>
                <a:gd name="T76" fmla="*/ 202 w 730"/>
                <a:gd name="T77" fmla="*/ 445 h 458"/>
                <a:gd name="T78" fmla="*/ 173 w 730"/>
                <a:gd name="T79" fmla="*/ 445 h 458"/>
                <a:gd name="T80" fmla="*/ 146 w 730"/>
                <a:gd name="T81" fmla="*/ 431 h 458"/>
                <a:gd name="T82" fmla="*/ 130 w 730"/>
                <a:gd name="T83" fmla="*/ 415 h 458"/>
                <a:gd name="T84" fmla="*/ 101 w 730"/>
                <a:gd name="T85" fmla="*/ 402 h 458"/>
                <a:gd name="T86" fmla="*/ 72 w 730"/>
                <a:gd name="T87" fmla="*/ 373 h 458"/>
                <a:gd name="T88" fmla="*/ 59 w 730"/>
                <a:gd name="T89" fmla="*/ 344 h 458"/>
                <a:gd name="T90" fmla="*/ 43 w 730"/>
                <a:gd name="T91" fmla="*/ 317 h 458"/>
                <a:gd name="T92" fmla="*/ 30 w 730"/>
                <a:gd name="T93" fmla="*/ 287 h 458"/>
                <a:gd name="T94" fmla="*/ 0 w 730"/>
                <a:gd name="T95" fmla="*/ 301 h 458"/>
                <a:gd name="T96" fmla="*/ 14 w 730"/>
                <a:gd name="T97" fmla="*/ 258 h 458"/>
                <a:gd name="T98" fmla="*/ 43 w 730"/>
                <a:gd name="T99" fmla="*/ 229 h 458"/>
                <a:gd name="T100" fmla="*/ 59 w 730"/>
                <a:gd name="T101" fmla="*/ 200 h 458"/>
                <a:gd name="T102" fmla="*/ 59 w 730"/>
                <a:gd name="T103" fmla="*/ 173 h 458"/>
                <a:gd name="T104" fmla="*/ 43 w 730"/>
                <a:gd name="T105" fmla="*/ 142 h 458"/>
                <a:gd name="T106" fmla="*/ 76 w 730"/>
                <a:gd name="T107" fmla="*/ 134 h 458"/>
                <a:gd name="T108" fmla="*/ 88 w 730"/>
                <a:gd name="T109" fmla="*/ 152 h 458"/>
                <a:gd name="T110" fmla="*/ 101 w 730"/>
                <a:gd name="T111" fmla="*/ 128 h 458"/>
                <a:gd name="T112" fmla="*/ 84 w 730"/>
                <a:gd name="T113" fmla="*/ 7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30" h="458">
                  <a:moveTo>
                    <a:pt x="84" y="78"/>
                  </a:moveTo>
                  <a:lnTo>
                    <a:pt x="115" y="101"/>
                  </a:lnTo>
                  <a:lnTo>
                    <a:pt x="130" y="115"/>
                  </a:lnTo>
                  <a:lnTo>
                    <a:pt x="146" y="115"/>
                  </a:lnTo>
                  <a:lnTo>
                    <a:pt x="160" y="128"/>
                  </a:lnTo>
                  <a:lnTo>
                    <a:pt x="173" y="142"/>
                  </a:lnTo>
                  <a:lnTo>
                    <a:pt x="202" y="142"/>
                  </a:lnTo>
                  <a:lnTo>
                    <a:pt x="218" y="142"/>
                  </a:lnTo>
                  <a:lnTo>
                    <a:pt x="231" y="142"/>
                  </a:lnTo>
                  <a:lnTo>
                    <a:pt x="237" y="142"/>
                  </a:lnTo>
                  <a:lnTo>
                    <a:pt x="274" y="130"/>
                  </a:lnTo>
                  <a:lnTo>
                    <a:pt x="288" y="130"/>
                  </a:lnTo>
                  <a:lnTo>
                    <a:pt x="278" y="119"/>
                  </a:lnTo>
                  <a:lnTo>
                    <a:pt x="288" y="113"/>
                  </a:lnTo>
                  <a:lnTo>
                    <a:pt x="288" y="101"/>
                  </a:lnTo>
                  <a:lnTo>
                    <a:pt x="311" y="97"/>
                  </a:lnTo>
                  <a:lnTo>
                    <a:pt x="332" y="101"/>
                  </a:lnTo>
                  <a:lnTo>
                    <a:pt x="346" y="101"/>
                  </a:lnTo>
                  <a:lnTo>
                    <a:pt x="361" y="101"/>
                  </a:lnTo>
                  <a:lnTo>
                    <a:pt x="390" y="86"/>
                  </a:lnTo>
                  <a:lnTo>
                    <a:pt x="404" y="72"/>
                  </a:lnTo>
                  <a:lnTo>
                    <a:pt x="433" y="59"/>
                  </a:lnTo>
                  <a:lnTo>
                    <a:pt x="447" y="43"/>
                  </a:lnTo>
                  <a:lnTo>
                    <a:pt x="462" y="29"/>
                  </a:lnTo>
                  <a:lnTo>
                    <a:pt x="462" y="14"/>
                  </a:lnTo>
                  <a:lnTo>
                    <a:pt x="478" y="0"/>
                  </a:lnTo>
                  <a:lnTo>
                    <a:pt x="491" y="0"/>
                  </a:lnTo>
                  <a:lnTo>
                    <a:pt x="507" y="0"/>
                  </a:lnTo>
                  <a:lnTo>
                    <a:pt x="536" y="0"/>
                  </a:lnTo>
                  <a:lnTo>
                    <a:pt x="549" y="0"/>
                  </a:lnTo>
                  <a:lnTo>
                    <a:pt x="565" y="0"/>
                  </a:lnTo>
                  <a:lnTo>
                    <a:pt x="576" y="0"/>
                  </a:lnTo>
                  <a:lnTo>
                    <a:pt x="576" y="14"/>
                  </a:lnTo>
                  <a:lnTo>
                    <a:pt x="592" y="14"/>
                  </a:lnTo>
                  <a:lnTo>
                    <a:pt x="606" y="29"/>
                  </a:lnTo>
                  <a:lnTo>
                    <a:pt x="635" y="14"/>
                  </a:lnTo>
                  <a:lnTo>
                    <a:pt x="664" y="29"/>
                  </a:lnTo>
                  <a:lnTo>
                    <a:pt x="670" y="43"/>
                  </a:lnTo>
                  <a:lnTo>
                    <a:pt x="681" y="39"/>
                  </a:lnTo>
                  <a:lnTo>
                    <a:pt x="697" y="43"/>
                  </a:lnTo>
                  <a:lnTo>
                    <a:pt x="706" y="59"/>
                  </a:lnTo>
                  <a:lnTo>
                    <a:pt x="730" y="68"/>
                  </a:lnTo>
                  <a:lnTo>
                    <a:pt x="730" y="84"/>
                  </a:lnTo>
                  <a:lnTo>
                    <a:pt x="726" y="109"/>
                  </a:lnTo>
                  <a:lnTo>
                    <a:pt x="704" y="130"/>
                  </a:lnTo>
                  <a:lnTo>
                    <a:pt x="683" y="142"/>
                  </a:lnTo>
                  <a:lnTo>
                    <a:pt x="670" y="152"/>
                  </a:lnTo>
                  <a:lnTo>
                    <a:pt x="654" y="156"/>
                  </a:lnTo>
                  <a:lnTo>
                    <a:pt x="642" y="177"/>
                  </a:lnTo>
                  <a:lnTo>
                    <a:pt x="639" y="204"/>
                  </a:lnTo>
                  <a:lnTo>
                    <a:pt x="629" y="216"/>
                  </a:lnTo>
                  <a:lnTo>
                    <a:pt x="625" y="233"/>
                  </a:lnTo>
                  <a:lnTo>
                    <a:pt x="617" y="270"/>
                  </a:lnTo>
                  <a:lnTo>
                    <a:pt x="600" y="287"/>
                  </a:lnTo>
                  <a:lnTo>
                    <a:pt x="592" y="303"/>
                  </a:lnTo>
                  <a:lnTo>
                    <a:pt x="571" y="307"/>
                  </a:lnTo>
                  <a:lnTo>
                    <a:pt x="571" y="324"/>
                  </a:lnTo>
                  <a:lnTo>
                    <a:pt x="547" y="340"/>
                  </a:lnTo>
                  <a:lnTo>
                    <a:pt x="544" y="348"/>
                  </a:lnTo>
                  <a:lnTo>
                    <a:pt x="526" y="363"/>
                  </a:lnTo>
                  <a:lnTo>
                    <a:pt x="518" y="377"/>
                  </a:lnTo>
                  <a:lnTo>
                    <a:pt x="511" y="388"/>
                  </a:lnTo>
                  <a:lnTo>
                    <a:pt x="462" y="386"/>
                  </a:lnTo>
                  <a:lnTo>
                    <a:pt x="447" y="373"/>
                  </a:lnTo>
                  <a:lnTo>
                    <a:pt x="433" y="373"/>
                  </a:lnTo>
                  <a:lnTo>
                    <a:pt x="433" y="386"/>
                  </a:lnTo>
                  <a:lnTo>
                    <a:pt x="404" y="402"/>
                  </a:lnTo>
                  <a:lnTo>
                    <a:pt x="390" y="402"/>
                  </a:lnTo>
                  <a:lnTo>
                    <a:pt x="377" y="386"/>
                  </a:lnTo>
                  <a:lnTo>
                    <a:pt x="346" y="402"/>
                  </a:lnTo>
                  <a:lnTo>
                    <a:pt x="332" y="415"/>
                  </a:lnTo>
                  <a:lnTo>
                    <a:pt x="303" y="415"/>
                  </a:lnTo>
                  <a:lnTo>
                    <a:pt x="288" y="415"/>
                  </a:lnTo>
                  <a:lnTo>
                    <a:pt x="276" y="431"/>
                  </a:lnTo>
                  <a:lnTo>
                    <a:pt x="260" y="445"/>
                  </a:lnTo>
                  <a:lnTo>
                    <a:pt x="247" y="458"/>
                  </a:lnTo>
                  <a:lnTo>
                    <a:pt x="231" y="458"/>
                  </a:lnTo>
                  <a:lnTo>
                    <a:pt x="202" y="445"/>
                  </a:lnTo>
                  <a:lnTo>
                    <a:pt x="189" y="445"/>
                  </a:lnTo>
                  <a:lnTo>
                    <a:pt x="173" y="445"/>
                  </a:lnTo>
                  <a:lnTo>
                    <a:pt x="160" y="445"/>
                  </a:lnTo>
                  <a:lnTo>
                    <a:pt x="146" y="431"/>
                  </a:lnTo>
                  <a:lnTo>
                    <a:pt x="130" y="431"/>
                  </a:lnTo>
                  <a:lnTo>
                    <a:pt x="130" y="415"/>
                  </a:lnTo>
                  <a:lnTo>
                    <a:pt x="115" y="415"/>
                  </a:lnTo>
                  <a:lnTo>
                    <a:pt x="101" y="402"/>
                  </a:lnTo>
                  <a:lnTo>
                    <a:pt x="88" y="386"/>
                  </a:lnTo>
                  <a:lnTo>
                    <a:pt x="72" y="373"/>
                  </a:lnTo>
                  <a:lnTo>
                    <a:pt x="59" y="359"/>
                  </a:lnTo>
                  <a:lnTo>
                    <a:pt x="59" y="344"/>
                  </a:lnTo>
                  <a:lnTo>
                    <a:pt x="59" y="330"/>
                  </a:lnTo>
                  <a:lnTo>
                    <a:pt x="43" y="317"/>
                  </a:lnTo>
                  <a:lnTo>
                    <a:pt x="30" y="301"/>
                  </a:lnTo>
                  <a:lnTo>
                    <a:pt x="30" y="287"/>
                  </a:lnTo>
                  <a:lnTo>
                    <a:pt x="0" y="287"/>
                  </a:lnTo>
                  <a:lnTo>
                    <a:pt x="0" y="301"/>
                  </a:lnTo>
                  <a:lnTo>
                    <a:pt x="0" y="287"/>
                  </a:lnTo>
                  <a:lnTo>
                    <a:pt x="14" y="258"/>
                  </a:lnTo>
                  <a:lnTo>
                    <a:pt x="30" y="258"/>
                  </a:lnTo>
                  <a:lnTo>
                    <a:pt x="43" y="229"/>
                  </a:lnTo>
                  <a:lnTo>
                    <a:pt x="43" y="200"/>
                  </a:lnTo>
                  <a:lnTo>
                    <a:pt x="59" y="200"/>
                  </a:lnTo>
                  <a:lnTo>
                    <a:pt x="59" y="187"/>
                  </a:lnTo>
                  <a:lnTo>
                    <a:pt x="59" y="173"/>
                  </a:lnTo>
                  <a:lnTo>
                    <a:pt x="43" y="157"/>
                  </a:lnTo>
                  <a:lnTo>
                    <a:pt x="43" y="142"/>
                  </a:lnTo>
                  <a:lnTo>
                    <a:pt x="59" y="142"/>
                  </a:lnTo>
                  <a:lnTo>
                    <a:pt x="76" y="134"/>
                  </a:lnTo>
                  <a:lnTo>
                    <a:pt x="72" y="146"/>
                  </a:lnTo>
                  <a:lnTo>
                    <a:pt x="88" y="152"/>
                  </a:lnTo>
                  <a:lnTo>
                    <a:pt x="88" y="142"/>
                  </a:lnTo>
                  <a:lnTo>
                    <a:pt x="101" y="128"/>
                  </a:lnTo>
                  <a:lnTo>
                    <a:pt x="92" y="101"/>
                  </a:lnTo>
                  <a:lnTo>
                    <a:pt x="84" y="78"/>
                  </a:lnTo>
                  <a:lnTo>
                    <a:pt x="84" y="78"/>
                  </a:lnTo>
                  <a:close/>
                </a:path>
              </a:pathLst>
            </a:custGeom>
            <a:solidFill>
              <a:srgbClr val="FF0000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FFFF"/>
                </a:solidFill>
              </a:endParaRPr>
            </a:p>
          </p:txBody>
        </p:sp>
        <p:sp>
          <p:nvSpPr>
            <p:cNvPr id="276" name="Freeform 56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5672138" y="5664201"/>
              <a:ext cx="198438" cy="115888"/>
            </a:xfrm>
            <a:custGeom>
              <a:avLst/>
              <a:gdLst>
                <a:gd name="T0" fmla="*/ 0 w 202"/>
                <a:gd name="T1" fmla="*/ 12 h 142"/>
                <a:gd name="T2" fmla="*/ 29 w 202"/>
                <a:gd name="T3" fmla="*/ 0 h 142"/>
                <a:gd name="T4" fmla="*/ 45 w 202"/>
                <a:gd name="T5" fmla="*/ 0 h 142"/>
                <a:gd name="T6" fmla="*/ 58 w 202"/>
                <a:gd name="T7" fmla="*/ 12 h 142"/>
                <a:gd name="T8" fmla="*/ 72 w 202"/>
                <a:gd name="T9" fmla="*/ 27 h 142"/>
                <a:gd name="T10" fmla="*/ 101 w 202"/>
                <a:gd name="T11" fmla="*/ 27 h 142"/>
                <a:gd name="T12" fmla="*/ 130 w 202"/>
                <a:gd name="T13" fmla="*/ 41 h 142"/>
                <a:gd name="T14" fmla="*/ 144 w 202"/>
                <a:gd name="T15" fmla="*/ 57 h 142"/>
                <a:gd name="T16" fmla="*/ 157 w 202"/>
                <a:gd name="T17" fmla="*/ 57 h 142"/>
                <a:gd name="T18" fmla="*/ 173 w 202"/>
                <a:gd name="T19" fmla="*/ 70 h 142"/>
                <a:gd name="T20" fmla="*/ 173 w 202"/>
                <a:gd name="T21" fmla="*/ 84 h 142"/>
                <a:gd name="T22" fmla="*/ 188 w 202"/>
                <a:gd name="T23" fmla="*/ 97 h 142"/>
                <a:gd name="T24" fmla="*/ 202 w 202"/>
                <a:gd name="T25" fmla="*/ 113 h 142"/>
                <a:gd name="T26" fmla="*/ 202 w 202"/>
                <a:gd name="T27" fmla="*/ 142 h 142"/>
                <a:gd name="T28" fmla="*/ 188 w 202"/>
                <a:gd name="T29" fmla="*/ 142 h 142"/>
                <a:gd name="T30" fmla="*/ 173 w 202"/>
                <a:gd name="T31" fmla="*/ 113 h 142"/>
                <a:gd name="T32" fmla="*/ 157 w 202"/>
                <a:gd name="T33" fmla="*/ 97 h 142"/>
                <a:gd name="T34" fmla="*/ 144 w 202"/>
                <a:gd name="T35" fmla="*/ 84 h 142"/>
                <a:gd name="T36" fmla="*/ 115 w 202"/>
                <a:gd name="T37" fmla="*/ 70 h 142"/>
                <a:gd name="T38" fmla="*/ 101 w 202"/>
                <a:gd name="T39" fmla="*/ 57 h 142"/>
                <a:gd name="T40" fmla="*/ 72 w 202"/>
                <a:gd name="T41" fmla="*/ 41 h 142"/>
                <a:gd name="T42" fmla="*/ 58 w 202"/>
                <a:gd name="T43" fmla="*/ 27 h 142"/>
                <a:gd name="T44" fmla="*/ 29 w 202"/>
                <a:gd name="T45" fmla="*/ 27 h 142"/>
                <a:gd name="T46" fmla="*/ 14 w 202"/>
                <a:gd name="T47" fmla="*/ 27 h 142"/>
                <a:gd name="T48" fmla="*/ 0 w 202"/>
                <a:gd name="T49" fmla="*/ 12 h 142"/>
                <a:gd name="T50" fmla="*/ 0 w 202"/>
                <a:gd name="T51" fmla="*/ 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2" h="142">
                  <a:moveTo>
                    <a:pt x="0" y="12"/>
                  </a:moveTo>
                  <a:lnTo>
                    <a:pt x="29" y="0"/>
                  </a:lnTo>
                  <a:lnTo>
                    <a:pt x="45" y="0"/>
                  </a:lnTo>
                  <a:lnTo>
                    <a:pt x="58" y="12"/>
                  </a:lnTo>
                  <a:lnTo>
                    <a:pt x="72" y="27"/>
                  </a:lnTo>
                  <a:lnTo>
                    <a:pt x="101" y="27"/>
                  </a:lnTo>
                  <a:lnTo>
                    <a:pt x="130" y="41"/>
                  </a:lnTo>
                  <a:lnTo>
                    <a:pt x="144" y="57"/>
                  </a:lnTo>
                  <a:lnTo>
                    <a:pt x="157" y="57"/>
                  </a:lnTo>
                  <a:lnTo>
                    <a:pt x="173" y="70"/>
                  </a:lnTo>
                  <a:lnTo>
                    <a:pt x="173" y="84"/>
                  </a:lnTo>
                  <a:lnTo>
                    <a:pt x="188" y="97"/>
                  </a:lnTo>
                  <a:lnTo>
                    <a:pt x="202" y="113"/>
                  </a:lnTo>
                  <a:lnTo>
                    <a:pt x="202" y="142"/>
                  </a:lnTo>
                  <a:lnTo>
                    <a:pt x="188" y="142"/>
                  </a:lnTo>
                  <a:lnTo>
                    <a:pt x="173" y="113"/>
                  </a:lnTo>
                  <a:lnTo>
                    <a:pt x="157" y="97"/>
                  </a:lnTo>
                  <a:lnTo>
                    <a:pt x="144" y="84"/>
                  </a:lnTo>
                  <a:lnTo>
                    <a:pt x="115" y="70"/>
                  </a:lnTo>
                  <a:lnTo>
                    <a:pt x="101" y="57"/>
                  </a:lnTo>
                  <a:lnTo>
                    <a:pt x="72" y="41"/>
                  </a:lnTo>
                  <a:lnTo>
                    <a:pt x="58" y="27"/>
                  </a:lnTo>
                  <a:lnTo>
                    <a:pt x="29" y="27"/>
                  </a:lnTo>
                  <a:lnTo>
                    <a:pt x="14" y="27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77" name="Freeform 5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5672138" y="5664201"/>
              <a:ext cx="198438" cy="115888"/>
            </a:xfrm>
            <a:custGeom>
              <a:avLst/>
              <a:gdLst>
                <a:gd name="T0" fmla="*/ 0 w 202"/>
                <a:gd name="T1" fmla="*/ 12 h 142"/>
                <a:gd name="T2" fmla="*/ 29 w 202"/>
                <a:gd name="T3" fmla="*/ 0 h 142"/>
                <a:gd name="T4" fmla="*/ 45 w 202"/>
                <a:gd name="T5" fmla="*/ 0 h 142"/>
                <a:gd name="T6" fmla="*/ 58 w 202"/>
                <a:gd name="T7" fmla="*/ 12 h 142"/>
                <a:gd name="T8" fmla="*/ 72 w 202"/>
                <a:gd name="T9" fmla="*/ 27 h 142"/>
                <a:gd name="T10" fmla="*/ 101 w 202"/>
                <a:gd name="T11" fmla="*/ 27 h 142"/>
                <a:gd name="T12" fmla="*/ 130 w 202"/>
                <a:gd name="T13" fmla="*/ 41 h 142"/>
                <a:gd name="T14" fmla="*/ 144 w 202"/>
                <a:gd name="T15" fmla="*/ 57 h 142"/>
                <a:gd name="T16" fmla="*/ 157 w 202"/>
                <a:gd name="T17" fmla="*/ 57 h 142"/>
                <a:gd name="T18" fmla="*/ 173 w 202"/>
                <a:gd name="T19" fmla="*/ 70 h 142"/>
                <a:gd name="T20" fmla="*/ 173 w 202"/>
                <a:gd name="T21" fmla="*/ 84 h 142"/>
                <a:gd name="T22" fmla="*/ 188 w 202"/>
                <a:gd name="T23" fmla="*/ 97 h 142"/>
                <a:gd name="T24" fmla="*/ 202 w 202"/>
                <a:gd name="T25" fmla="*/ 113 h 142"/>
                <a:gd name="T26" fmla="*/ 202 w 202"/>
                <a:gd name="T27" fmla="*/ 142 h 142"/>
                <a:gd name="T28" fmla="*/ 188 w 202"/>
                <a:gd name="T29" fmla="*/ 142 h 142"/>
                <a:gd name="T30" fmla="*/ 173 w 202"/>
                <a:gd name="T31" fmla="*/ 113 h 142"/>
                <a:gd name="T32" fmla="*/ 157 w 202"/>
                <a:gd name="T33" fmla="*/ 97 h 142"/>
                <a:gd name="T34" fmla="*/ 144 w 202"/>
                <a:gd name="T35" fmla="*/ 84 h 142"/>
                <a:gd name="T36" fmla="*/ 115 w 202"/>
                <a:gd name="T37" fmla="*/ 70 h 142"/>
                <a:gd name="T38" fmla="*/ 101 w 202"/>
                <a:gd name="T39" fmla="*/ 57 h 142"/>
                <a:gd name="T40" fmla="*/ 72 w 202"/>
                <a:gd name="T41" fmla="*/ 41 h 142"/>
                <a:gd name="T42" fmla="*/ 58 w 202"/>
                <a:gd name="T43" fmla="*/ 27 h 142"/>
                <a:gd name="T44" fmla="*/ 29 w 202"/>
                <a:gd name="T45" fmla="*/ 27 h 142"/>
                <a:gd name="T46" fmla="*/ 14 w 202"/>
                <a:gd name="T47" fmla="*/ 27 h 142"/>
                <a:gd name="T48" fmla="*/ 0 w 202"/>
                <a:gd name="T49" fmla="*/ 12 h 142"/>
                <a:gd name="T50" fmla="*/ 0 w 202"/>
                <a:gd name="T51" fmla="*/ 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2" h="142">
                  <a:moveTo>
                    <a:pt x="0" y="12"/>
                  </a:moveTo>
                  <a:lnTo>
                    <a:pt x="29" y="0"/>
                  </a:lnTo>
                  <a:lnTo>
                    <a:pt x="45" y="0"/>
                  </a:lnTo>
                  <a:lnTo>
                    <a:pt x="58" y="12"/>
                  </a:lnTo>
                  <a:lnTo>
                    <a:pt x="72" y="27"/>
                  </a:lnTo>
                  <a:lnTo>
                    <a:pt x="101" y="27"/>
                  </a:lnTo>
                  <a:lnTo>
                    <a:pt x="130" y="41"/>
                  </a:lnTo>
                  <a:lnTo>
                    <a:pt x="144" y="57"/>
                  </a:lnTo>
                  <a:lnTo>
                    <a:pt x="157" y="57"/>
                  </a:lnTo>
                  <a:lnTo>
                    <a:pt x="173" y="70"/>
                  </a:lnTo>
                  <a:lnTo>
                    <a:pt x="173" y="84"/>
                  </a:lnTo>
                  <a:lnTo>
                    <a:pt x="188" y="97"/>
                  </a:lnTo>
                  <a:lnTo>
                    <a:pt x="202" y="113"/>
                  </a:lnTo>
                  <a:lnTo>
                    <a:pt x="202" y="142"/>
                  </a:lnTo>
                  <a:lnTo>
                    <a:pt x="188" y="142"/>
                  </a:lnTo>
                  <a:lnTo>
                    <a:pt x="173" y="113"/>
                  </a:lnTo>
                  <a:lnTo>
                    <a:pt x="157" y="97"/>
                  </a:lnTo>
                  <a:lnTo>
                    <a:pt x="144" y="84"/>
                  </a:lnTo>
                  <a:lnTo>
                    <a:pt x="115" y="70"/>
                  </a:lnTo>
                  <a:lnTo>
                    <a:pt x="101" y="57"/>
                  </a:lnTo>
                  <a:lnTo>
                    <a:pt x="72" y="41"/>
                  </a:lnTo>
                  <a:lnTo>
                    <a:pt x="58" y="27"/>
                  </a:lnTo>
                  <a:lnTo>
                    <a:pt x="29" y="27"/>
                  </a:lnTo>
                  <a:lnTo>
                    <a:pt x="14" y="27"/>
                  </a:lnTo>
                  <a:lnTo>
                    <a:pt x="0" y="12"/>
                  </a:lnTo>
                  <a:lnTo>
                    <a:pt x="0" y="12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78" name="Freeform 5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5114925" y="1844676"/>
              <a:ext cx="69850" cy="71438"/>
            </a:xfrm>
            <a:custGeom>
              <a:avLst/>
              <a:gdLst>
                <a:gd name="T0" fmla="*/ 15 w 72"/>
                <a:gd name="T1" fmla="*/ 85 h 85"/>
                <a:gd name="T2" fmla="*/ 29 w 72"/>
                <a:gd name="T3" fmla="*/ 71 h 85"/>
                <a:gd name="T4" fmla="*/ 29 w 72"/>
                <a:gd name="T5" fmla="*/ 56 h 85"/>
                <a:gd name="T6" fmla="*/ 45 w 72"/>
                <a:gd name="T7" fmla="*/ 56 h 85"/>
                <a:gd name="T8" fmla="*/ 58 w 72"/>
                <a:gd name="T9" fmla="*/ 56 h 85"/>
                <a:gd name="T10" fmla="*/ 72 w 72"/>
                <a:gd name="T11" fmla="*/ 15 h 85"/>
                <a:gd name="T12" fmla="*/ 58 w 72"/>
                <a:gd name="T13" fmla="*/ 0 h 85"/>
                <a:gd name="T14" fmla="*/ 45 w 72"/>
                <a:gd name="T15" fmla="*/ 0 h 85"/>
                <a:gd name="T16" fmla="*/ 45 w 72"/>
                <a:gd name="T17" fmla="*/ 15 h 85"/>
                <a:gd name="T18" fmla="*/ 29 w 72"/>
                <a:gd name="T19" fmla="*/ 15 h 85"/>
                <a:gd name="T20" fmla="*/ 15 w 72"/>
                <a:gd name="T21" fmla="*/ 15 h 85"/>
                <a:gd name="T22" fmla="*/ 15 w 72"/>
                <a:gd name="T23" fmla="*/ 29 h 85"/>
                <a:gd name="T24" fmla="*/ 15 w 72"/>
                <a:gd name="T25" fmla="*/ 42 h 85"/>
                <a:gd name="T26" fmla="*/ 0 w 72"/>
                <a:gd name="T27" fmla="*/ 56 h 85"/>
                <a:gd name="T28" fmla="*/ 15 w 72"/>
                <a:gd name="T29" fmla="*/ 71 h 85"/>
                <a:gd name="T30" fmla="*/ 15 w 72"/>
                <a:gd name="T31" fmla="*/ 85 h 85"/>
                <a:gd name="T32" fmla="*/ 15 w 72"/>
                <a:gd name="T33" fmla="*/ 85 h 85"/>
                <a:gd name="T34" fmla="*/ 15 w 72"/>
                <a:gd name="T3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85">
                  <a:moveTo>
                    <a:pt x="15" y="85"/>
                  </a:moveTo>
                  <a:lnTo>
                    <a:pt x="29" y="71"/>
                  </a:lnTo>
                  <a:lnTo>
                    <a:pt x="29" y="56"/>
                  </a:lnTo>
                  <a:lnTo>
                    <a:pt x="45" y="56"/>
                  </a:lnTo>
                  <a:lnTo>
                    <a:pt x="58" y="56"/>
                  </a:lnTo>
                  <a:lnTo>
                    <a:pt x="72" y="15"/>
                  </a:lnTo>
                  <a:lnTo>
                    <a:pt x="58" y="0"/>
                  </a:lnTo>
                  <a:lnTo>
                    <a:pt x="45" y="0"/>
                  </a:lnTo>
                  <a:lnTo>
                    <a:pt x="45" y="15"/>
                  </a:lnTo>
                  <a:lnTo>
                    <a:pt x="29" y="15"/>
                  </a:lnTo>
                  <a:lnTo>
                    <a:pt x="15" y="15"/>
                  </a:lnTo>
                  <a:lnTo>
                    <a:pt x="15" y="29"/>
                  </a:lnTo>
                  <a:lnTo>
                    <a:pt x="15" y="42"/>
                  </a:lnTo>
                  <a:lnTo>
                    <a:pt x="0" y="56"/>
                  </a:lnTo>
                  <a:lnTo>
                    <a:pt x="15" y="71"/>
                  </a:lnTo>
                  <a:lnTo>
                    <a:pt x="15" y="85"/>
                  </a:lnTo>
                  <a:lnTo>
                    <a:pt x="15" y="85"/>
                  </a:lnTo>
                  <a:lnTo>
                    <a:pt x="15" y="85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79" name="Freeform 5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5114925" y="1844676"/>
              <a:ext cx="69850" cy="71438"/>
            </a:xfrm>
            <a:custGeom>
              <a:avLst/>
              <a:gdLst>
                <a:gd name="T0" fmla="*/ 15 w 72"/>
                <a:gd name="T1" fmla="*/ 85 h 85"/>
                <a:gd name="T2" fmla="*/ 29 w 72"/>
                <a:gd name="T3" fmla="*/ 71 h 85"/>
                <a:gd name="T4" fmla="*/ 29 w 72"/>
                <a:gd name="T5" fmla="*/ 56 h 85"/>
                <a:gd name="T6" fmla="*/ 45 w 72"/>
                <a:gd name="T7" fmla="*/ 56 h 85"/>
                <a:gd name="T8" fmla="*/ 58 w 72"/>
                <a:gd name="T9" fmla="*/ 56 h 85"/>
                <a:gd name="T10" fmla="*/ 72 w 72"/>
                <a:gd name="T11" fmla="*/ 15 h 85"/>
                <a:gd name="T12" fmla="*/ 58 w 72"/>
                <a:gd name="T13" fmla="*/ 0 h 85"/>
                <a:gd name="T14" fmla="*/ 45 w 72"/>
                <a:gd name="T15" fmla="*/ 0 h 85"/>
                <a:gd name="T16" fmla="*/ 45 w 72"/>
                <a:gd name="T17" fmla="*/ 15 h 85"/>
                <a:gd name="T18" fmla="*/ 29 w 72"/>
                <a:gd name="T19" fmla="*/ 15 h 85"/>
                <a:gd name="T20" fmla="*/ 15 w 72"/>
                <a:gd name="T21" fmla="*/ 15 h 85"/>
                <a:gd name="T22" fmla="*/ 15 w 72"/>
                <a:gd name="T23" fmla="*/ 29 h 85"/>
                <a:gd name="T24" fmla="*/ 15 w 72"/>
                <a:gd name="T25" fmla="*/ 42 h 85"/>
                <a:gd name="T26" fmla="*/ 0 w 72"/>
                <a:gd name="T27" fmla="*/ 56 h 85"/>
                <a:gd name="T28" fmla="*/ 15 w 72"/>
                <a:gd name="T29" fmla="*/ 71 h 85"/>
                <a:gd name="T30" fmla="*/ 15 w 72"/>
                <a:gd name="T31" fmla="*/ 85 h 85"/>
                <a:gd name="T32" fmla="*/ 15 w 72"/>
                <a:gd name="T33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85">
                  <a:moveTo>
                    <a:pt x="15" y="85"/>
                  </a:moveTo>
                  <a:lnTo>
                    <a:pt x="29" y="71"/>
                  </a:lnTo>
                  <a:lnTo>
                    <a:pt x="29" y="56"/>
                  </a:lnTo>
                  <a:lnTo>
                    <a:pt x="45" y="56"/>
                  </a:lnTo>
                  <a:lnTo>
                    <a:pt x="58" y="56"/>
                  </a:lnTo>
                  <a:lnTo>
                    <a:pt x="72" y="15"/>
                  </a:lnTo>
                  <a:lnTo>
                    <a:pt x="58" y="0"/>
                  </a:lnTo>
                  <a:lnTo>
                    <a:pt x="45" y="0"/>
                  </a:lnTo>
                  <a:lnTo>
                    <a:pt x="45" y="15"/>
                  </a:lnTo>
                  <a:lnTo>
                    <a:pt x="29" y="15"/>
                  </a:lnTo>
                  <a:lnTo>
                    <a:pt x="15" y="15"/>
                  </a:lnTo>
                  <a:lnTo>
                    <a:pt x="15" y="29"/>
                  </a:lnTo>
                  <a:lnTo>
                    <a:pt x="15" y="42"/>
                  </a:lnTo>
                  <a:lnTo>
                    <a:pt x="0" y="56"/>
                  </a:lnTo>
                  <a:lnTo>
                    <a:pt x="15" y="71"/>
                  </a:lnTo>
                  <a:lnTo>
                    <a:pt x="15" y="85"/>
                  </a:lnTo>
                  <a:lnTo>
                    <a:pt x="15" y="85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80" name="Freeform 6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4595813" y="1912938"/>
              <a:ext cx="976313" cy="1690688"/>
            </a:xfrm>
            <a:custGeom>
              <a:avLst/>
              <a:gdLst>
                <a:gd name="T0" fmla="*/ 965 w 995"/>
                <a:gd name="T1" fmla="*/ 376 h 2069"/>
                <a:gd name="T2" fmla="*/ 965 w 995"/>
                <a:gd name="T3" fmla="*/ 273 h 2069"/>
                <a:gd name="T4" fmla="*/ 921 w 995"/>
                <a:gd name="T5" fmla="*/ 215 h 2069"/>
                <a:gd name="T6" fmla="*/ 936 w 995"/>
                <a:gd name="T7" fmla="*/ 144 h 2069"/>
                <a:gd name="T8" fmla="*/ 851 w 995"/>
                <a:gd name="T9" fmla="*/ 72 h 2069"/>
                <a:gd name="T10" fmla="*/ 779 w 995"/>
                <a:gd name="T11" fmla="*/ 16 h 2069"/>
                <a:gd name="T12" fmla="*/ 721 w 995"/>
                <a:gd name="T13" fmla="*/ 58 h 2069"/>
                <a:gd name="T14" fmla="*/ 647 w 995"/>
                <a:gd name="T15" fmla="*/ 87 h 2069"/>
                <a:gd name="T16" fmla="*/ 578 w 995"/>
                <a:gd name="T17" fmla="*/ 130 h 2069"/>
                <a:gd name="T18" fmla="*/ 490 w 995"/>
                <a:gd name="T19" fmla="*/ 215 h 2069"/>
                <a:gd name="T20" fmla="*/ 490 w 995"/>
                <a:gd name="T21" fmla="*/ 303 h 2069"/>
                <a:gd name="T22" fmla="*/ 417 w 995"/>
                <a:gd name="T23" fmla="*/ 403 h 2069"/>
                <a:gd name="T24" fmla="*/ 329 w 995"/>
                <a:gd name="T25" fmla="*/ 502 h 2069"/>
                <a:gd name="T26" fmla="*/ 316 w 995"/>
                <a:gd name="T27" fmla="*/ 619 h 2069"/>
                <a:gd name="T28" fmla="*/ 289 w 995"/>
                <a:gd name="T29" fmla="*/ 704 h 2069"/>
                <a:gd name="T30" fmla="*/ 230 w 995"/>
                <a:gd name="T31" fmla="*/ 762 h 2069"/>
                <a:gd name="T32" fmla="*/ 159 w 995"/>
                <a:gd name="T33" fmla="*/ 791 h 2069"/>
                <a:gd name="T34" fmla="*/ 130 w 995"/>
                <a:gd name="T35" fmla="*/ 919 h 2069"/>
                <a:gd name="T36" fmla="*/ 143 w 995"/>
                <a:gd name="T37" fmla="*/ 1020 h 2069"/>
                <a:gd name="T38" fmla="*/ 159 w 995"/>
                <a:gd name="T39" fmla="*/ 1105 h 2069"/>
                <a:gd name="T40" fmla="*/ 114 w 995"/>
                <a:gd name="T41" fmla="*/ 1208 h 2069"/>
                <a:gd name="T42" fmla="*/ 114 w 995"/>
                <a:gd name="T43" fmla="*/ 1350 h 2069"/>
                <a:gd name="T44" fmla="*/ 56 w 995"/>
                <a:gd name="T45" fmla="*/ 1394 h 2069"/>
                <a:gd name="T46" fmla="*/ 42 w 995"/>
                <a:gd name="T47" fmla="*/ 1480 h 2069"/>
                <a:gd name="T48" fmla="*/ 0 w 995"/>
                <a:gd name="T49" fmla="*/ 1466 h 2069"/>
                <a:gd name="T50" fmla="*/ 0 w 995"/>
                <a:gd name="T51" fmla="*/ 1565 h 2069"/>
                <a:gd name="T52" fmla="*/ 27 w 995"/>
                <a:gd name="T53" fmla="*/ 1610 h 2069"/>
                <a:gd name="T54" fmla="*/ 27 w 995"/>
                <a:gd name="T55" fmla="*/ 1695 h 2069"/>
                <a:gd name="T56" fmla="*/ 27 w 995"/>
                <a:gd name="T57" fmla="*/ 1796 h 2069"/>
                <a:gd name="T58" fmla="*/ 85 w 995"/>
                <a:gd name="T59" fmla="*/ 1881 h 2069"/>
                <a:gd name="T60" fmla="*/ 58 w 995"/>
                <a:gd name="T61" fmla="*/ 1939 h 2069"/>
                <a:gd name="T62" fmla="*/ 85 w 995"/>
                <a:gd name="T63" fmla="*/ 2011 h 2069"/>
                <a:gd name="T64" fmla="*/ 114 w 995"/>
                <a:gd name="T65" fmla="*/ 2069 h 2069"/>
                <a:gd name="T66" fmla="*/ 201 w 995"/>
                <a:gd name="T67" fmla="*/ 2054 h 2069"/>
                <a:gd name="T68" fmla="*/ 244 w 995"/>
                <a:gd name="T69" fmla="*/ 1982 h 2069"/>
                <a:gd name="T70" fmla="*/ 318 w 995"/>
                <a:gd name="T71" fmla="*/ 1953 h 2069"/>
                <a:gd name="T72" fmla="*/ 374 w 995"/>
                <a:gd name="T73" fmla="*/ 1939 h 2069"/>
                <a:gd name="T74" fmla="*/ 432 w 995"/>
                <a:gd name="T75" fmla="*/ 1825 h 2069"/>
                <a:gd name="T76" fmla="*/ 432 w 995"/>
                <a:gd name="T77" fmla="*/ 1753 h 2069"/>
                <a:gd name="T78" fmla="*/ 461 w 995"/>
                <a:gd name="T79" fmla="*/ 1666 h 2069"/>
                <a:gd name="T80" fmla="*/ 432 w 995"/>
                <a:gd name="T81" fmla="*/ 1581 h 2069"/>
                <a:gd name="T82" fmla="*/ 519 w 995"/>
                <a:gd name="T83" fmla="*/ 1538 h 2069"/>
                <a:gd name="T84" fmla="*/ 578 w 995"/>
                <a:gd name="T85" fmla="*/ 1509 h 2069"/>
                <a:gd name="T86" fmla="*/ 605 w 995"/>
                <a:gd name="T87" fmla="*/ 1437 h 2069"/>
                <a:gd name="T88" fmla="*/ 605 w 995"/>
                <a:gd name="T89" fmla="*/ 1365 h 2069"/>
                <a:gd name="T90" fmla="*/ 578 w 995"/>
                <a:gd name="T91" fmla="*/ 1294 h 2069"/>
                <a:gd name="T92" fmla="*/ 519 w 995"/>
                <a:gd name="T93" fmla="*/ 1235 h 2069"/>
                <a:gd name="T94" fmla="*/ 519 w 995"/>
                <a:gd name="T95" fmla="*/ 1179 h 2069"/>
                <a:gd name="T96" fmla="*/ 519 w 995"/>
                <a:gd name="T97" fmla="*/ 1092 h 2069"/>
                <a:gd name="T98" fmla="*/ 504 w 995"/>
                <a:gd name="T99" fmla="*/ 1007 h 2069"/>
                <a:gd name="T100" fmla="*/ 578 w 995"/>
                <a:gd name="T101" fmla="*/ 962 h 2069"/>
                <a:gd name="T102" fmla="*/ 649 w 995"/>
                <a:gd name="T103" fmla="*/ 890 h 2069"/>
                <a:gd name="T104" fmla="*/ 721 w 995"/>
                <a:gd name="T105" fmla="*/ 848 h 2069"/>
                <a:gd name="T106" fmla="*/ 764 w 995"/>
                <a:gd name="T107" fmla="*/ 776 h 2069"/>
                <a:gd name="T108" fmla="*/ 808 w 995"/>
                <a:gd name="T109" fmla="*/ 690 h 2069"/>
                <a:gd name="T110" fmla="*/ 808 w 995"/>
                <a:gd name="T111" fmla="*/ 590 h 2069"/>
                <a:gd name="T112" fmla="*/ 867 w 995"/>
                <a:gd name="T113" fmla="*/ 531 h 2069"/>
                <a:gd name="T114" fmla="*/ 894 w 995"/>
                <a:gd name="T115" fmla="*/ 475 h 2069"/>
                <a:gd name="T116" fmla="*/ 979 w 995"/>
                <a:gd name="T117" fmla="*/ 475 h 2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95" h="2069">
                  <a:moveTo>
                    <a:pt x="995" y="460"/>
                  </a:moveTo>
                  <a:lnTo>
                    <a:pt x="995" y="431"/>
                  </a:lnTo>
                  <a:lnTo>
                    <a:pt x="979" y="417"/>
                  </a:lnTo>
                  <a:lnTo>
                    <a:pt x="965" y="390"/>
                  </a:lnTo>
                  <a:lnTo>
                    <a:pt x="965" y="376"/>
                  </a:lnTo>
                  <a:lnTo>
                    <a:pt x="965" y="345"/>
                  </a:lnTo>
                  <a:lnTo>
                    <a:pt x="965" y="316"/>
                  </a:lnTo>
                  <a:lnTo>
                    <a:pt x="979" y="303"/>
                  </a:lnTo>
                  <a:lnTo>
                    <a:pt x="965" y="287"/>
                  </a:lnTo>
                  <a:lnTo>
                    <a:pt x="965" y="273"/>
                  </a:lnTo>
                  <a:lnTo>
                    <a:pt x="950" y="258"/>
                  </a:lnTo>
                  <a:lnTo>
                    <a:pt x="950" y="244"/>
                  </a:lnTo>
                  <a:lnTo>
                    <a:pt x="950" y="231"/>
                  </a:lnTo>
                  <a:lnTo>
                    <a:pt x="950" y="215"/>
                  </a:lnTo>
                  <a:lnTo>
                    <a:pt x="921" y="215"/>
                  </a:lnTo>
                  <a:lnTo>
                    <a:pt x="936" y="202"/>
                  </a:lnTo>
                  <a:lnTo>
                    <a:pt x="936" y="188"/>
                  </a:lnTo>
                  <a:lnTo>
                    <a:pt x="936" y="173"/>
                  </a:lnTo>
                  <a:lnTo>
                    <a:pt x="936" y="159"/>
                  </a:lnTo>
                  <a:lnTo>
                    <a:pt x="936" y="144"/>
                  </a:lnTo>
                  <a:lnTo>
                    <a:pt x="921" y="130"/>
                  </a:lnTo>
                  <a:lnTo>
                    <a:pt x="921" y="101"/>
                  </a:lnTo>
                  <a:lnTo>
                    <a:pt x="907" y="101"/>
                  </a:lnTo>
                  <a:lnTo>
                    <a:pt x="878" y="87"/>
                  </a:lnTo>
                  <a:lnTo>
                    <a:pt x="851" y="72"/>
                  </a:lnTo>
                  <a:lnTo>
                    <a:pt x="836" y="72"/>
                  </a:lnTo>
                  <a:lnTo>
                    <a:pt x="822" y="58"/>
                  </a:lnTo>
                  <a:lnTo>
                    <a:pt x="806" y="58"/>
                  </a:lnTo>
                  <a:lnTo>
                    <a:pt x="806" y="29"/>
                  </a:lnTo>
                  <a:lnTo>
                    <a:pt x="779" y="16"/>
                  </a:lnTo>
                  <a:lnTo>
                    <a:pt x="750" y="0"/>
                  </a:lnTo>
                  <a:lnTo>
                    <a:pt x="721" y="0"/>
                  </a:lnTo>
                  <a:lnTo>
                    <a:pt x="721" y="16"/>
                  </a:lnTo>
                  <a:lnTo>
                    <a:pt x="721" y="43"/>
                  </a:lnTo>
                  <a:lnTo>
                    <a:pt x="721" y="58"/>
                  </a:lnTo>
                  <a:lnTo>
                    <a:pt x="692" y="43"/>
                  </a:lnTo>
                  <a:lnTo>
                    <a:pt x="676" y="87"/>
                  </a:lnTo>
                  <a:lnTo>
                    <a:pt x="676" y="101"/>
                  </a:lnTo>
                  <a:lnTo>
                    <a:pt x="661" y="101"/>
                  </a:lnTo>
                  <a:lnTo>
                    <a:pt x="647" y="87"/>
                  </a:lnTo>
                  <a:lnTo>
                    <a:pt x="618" y="101"/>
                  </a:lnTo>
                  <a:lnTo>
                    <a:pt x="618" y="130"/>
                  </a:lnTo>
                  <a:lnTo>
                    <a:pt x="618" y="144"/>
                  </a:lnTo>
                  <a:lnTo>
                    <a:pt x="605" y="144"/>
                  </a:lnTo>
                  <a:lnTo>
                    <a:pt x="578" y="130"/>
                  </a:lnTo>
                  <a:lnTo>
                    <a:pt x="562" y="130"/>
                  </a:lnTo>
                  <a:lnTo>
                    <a:pt x="547" y="159"/>
                  </a:lnTo>
                  <a:lnTo>
                    <a:pt x="547" y="173"/>
                  </a:lnTo>
                  <a:lnTo>
                    <a:pt x="504" y="202"/>
                  </a:lnTo>
                  <a:lnTo>
                    <a:pt x="490" y="215"/>
                  </a:lnTo>
                  <a:lnTo>
                    <a:pt x="475" y="231"/>
                  </a:lnTo>
                  <a:lnTo>
                    <a:pt x="490" y="244"/>
                  </a:lnTo>
                  <a:lnTo>
                    <a:pt x="504" y="273"/>
                  </a:lnTo>
                  <a:lnTo>
                    <a:pt x="490" y="287"/>
                  </a:lnTo>
                  <a:lnTo>
                    <a:pt x="490" y="303"/>
                  </a:lnTo>
                  <a:lnTo>
                    <a:pt x="461" y="332"/>
                  </a:lnTo>
                  <a:lnTo>
                    <a:pt x="432" y="345"/>
                  </a:lnTo>
                  <a:lnTo>
                    <a:pt x="432" y="376"/>
                  </a:lnTo>
                  <a:lnTo>
                    <a:pt x="432" y="390"/>
                  </a:lnTo>
                  <a:lnTo>
                    <a:pt x="417" y="403"/>
                  </a:lnTo>
                  <a:lnTo>
                    <a:pt x="389" y="417"/>
                  </a:lnTo>
                  <a:lnTo>
                    <a:pt x="358" y="431"/>
                  </a:lnTo>
                  <a:lnTo>
                    <a:pt x="358" y="460"/>
                  </a:lnTo>
                  <a:lnTo>
                    <a:pt x="345" y="489"/>
                  </a:lnTo>
                  <a:lnTo>
                    <a:pt x="329" y="502"/>
                  </a:lnTo>
                  <a:lnTo>
                    <a:pt x="329" y="531"/>
                  </a:lnTo>
                  <a:lnTo>
                    <a:pt x="329" y="547"/>
                  </a:lnTo>
                  <a:lnTo>
                    <a:pt x="329" y="560"/>
                  </a:lnTo>
                  <a:lnTo>
                    <a:pt x="316" y="605"/>
                  </a:lnTo>
                  <a:lnTo>
                    <a:pt x="316" y="619"/>
                  </a:lnTo>
                  <a:lnTo>
                    <a:pt x="289" y="632"/>
                  </a:lnTo>
                  <a:lnTo>
                    <a:pt x="273" y="648"/>
                  </a:lnTo>
                  <a:lnTo>
                    <a:pt x="289" y="675"/>
                  </a:lnTo>
                  <a:lnTo>
                    <a:pt x="289" y="690"/>
                  </a:lnTo>
                  <a:lnTo>
                    <a:pt x="289" y="704"/>
                  </a:lnTo>
                  <a:lnTo>
                    <a:pt x="302" y="733"/>
                  </a:lnTo>
                  <a:lnTo>
                    <a:pt x="289" y="749"/>
                  </a:lnTo>
                  <a:lnTo>
                    <a:pt x="260" y="749"/>
                  </a:lnTo>
                  <a:lnTo>
                    <a:pt x="244" y="749"/>
                  </a:lnTo>
                  <a:lnTo>
                    <a:pt x="230" y="762"/>
                  </a:lnTo>
                  <a:lnTo>
                    <a:pt x="215" y="776"/>
                  </a:lnTo>
                  <a:lnTo>
                    <a:pt x="201" y="776"/>
                  </a:lnTo>
                  <a:lnTo>
                    <a:pt x="201" y="762"/>
                  </a:lnTo>
                  <a:lnTo>
                    <a:pt x="172" y="776"/>
                  </a:lnTo>
                  <a:lnTo>
                    <a:pt x="159" y="791"/>
                  </a:lnTo>
                  <a:lnTo>
                    <a:pt x="143" y="818"/>
                  </a:lnTo>
                  <a:lnTo>
                    <a:pt x="143" y="848"/>
                  </a:lnTo>
                  <a:lnTo>
                    <a:pt x="143" y="877"/>
                  </a:lnTo>
                  <a:lnTo>
                    <a:pt x="143" y="906"/>
                  </a:lnTo>
                  <a:lnTo>
                    <a:pt x="130" y="919"/>
                  </a:lnTo>
                  <a:lnTo>
                    <a:pt x="130" y="948"/>
                  </a:lnTo>
                  <a:lnTo>
                    <a:pt x="130" y="962"/>
                  </a:lnTo>
                  <a:lnTo>
                    <a:pt x="143" y="977"/>
                  </a:lnTo>
                  <a:lnTo>
                    <a:pt x="143" y="1007"/>
                  </a:lnTo>
                  <a:lnTo>
                    <a:pt x="143" y="1020"/>
                  </a:lnTo>
                  <a:lnTo>
                    <a:pt x="130" y="1049"/>
                  </a:lnTo>
                  <a:lnTo>
                    <a:pt x="130" y="1063"/>
                  </a:lnTo>
                  <a:lnTo>
                    <a:pt x="130" y="1076"/>
                  </a:lnTo>
                  <a:lnTo>
                    <a:pt x="143" y="1092"/>
                  </a:lnTo>
                  <a:lnTo>
                    <a:pt x="159" y="1105"/>
                  </a:lnTo>
                  <a:lnTo>
                    <a:pt x="159" y="1121"/>
                  </a:lnTo>
                  <a:lnTo>
                    <a:pt x="159" y="1150"/>
                  </a:lnTo>
                  <a:lnTo>
                    <a:pt x="159" y="1164"/>
                  </a:lnTo>
                  <a:lnTo>
                    <a:pt x="114" y="1193"/>
                  </a:lnTo>
                  <a:lnTo>
                    <a:pt x="114" y="1208"/>
                  </a:lnTo>
                  <a:lnTo>
                    <a:pt x="130" y="1235"/>
                  </a:lnTo>
                  <a:lnTo>
                    <a:pt x="130" y="1251"/>
                  </a:lnTo>
                  <a:lnTo>
                    <a:pt x="130" y="1264"/>
                  </a:lnTo>
                  <a:lnTo>
                    <a:pt x="130" y="1309"/>
                  </a:lnTo>
                  <a:lnTo>
                    <a:pt x="114" y="1350"/>
                  </a:lnTo>
                  <a:lnTo>
                    <a:pt x="100" y="1350"/>
                  </a:lnTo>
                  <a:lnTo>
                    <a:pt x="85" y="1350"/>
                  </a:lnTo>
                  <a:lnTo>
                    <a:pt x="71" y="1365"/>
                  </a:lnTo>
                  <a:lnTo>
                    <a:pt x="71" y="1379"/>
                  </a:lnTo>
                  <a:lnTo>
                    <a:pt x="56" y="1394"/>
                  </a:lnTo>
                  <a:lnTo>
                    <a:pt x="56" y="1408"/>
                  </a:lnTo>
                  <a:lnTo>
                    <a:pt x="27" y="1437"/>
                  </a:lnTo>
                  <a:lnTo>
                    <a:pt x="42" y="1451"/>
                  </a:lnTo>
                  <a:lnTo>
                    <a:pt x="42" y="1466"/>
                  </a:lnTo>
                  <a:lnTo>
                    <a:pt x="42" y="1480"/>
                  </a:lnTo>
                  <a:lnTo>
                    <a:pt x="27" y="1495"/>
                  </a:lnTo>
                  <a:lnTo>
                    <a:pt x="13" y="1480"/>
                  </a:lnTo>
                  <a:lnTo>
                    <a:pt x="13" y="1466"/>
                  </a:lnTo>
                  <a:lnTo>
                    <a:pt x="0" y="1466"/>
                  </a:lnTo>
                  <a:lnTo>
                    <a:pt x="0" y="1466"/>
                  </a:lnTo>
                  <a:lnTo>
                    <a:pt x="0" y="1495"/>
                  </a:lnTo>
                  <a:lnTo>
                    <a:pt x="0" y="1509"/>
                  </a:lnTo>
                  <a:lnTo>
                    <a:pt x="0" y="1538"/>
                  </a:lnTo>
                  <a:lnTo>
                    <a:pt x="0" y="1551"/>
                  </a:lnTo>
                  <a:lnTo>
                    <a:pt x="0" y="1565"/>
                  </a:lnTo>
                  <a:lnTo>
                    <a:pt x="0" y="1581"/>
                  </a:lnTo>
                  <a:lnTo>
                    <a:pt x="0" y="1594"/>
                  </a:lnTo>
                  <a:lnTo>
                    <a:pt x="15" y="1594"/>
                  </a:lnTo>
                  <a:lnTo>
                    <a:pt x="15" y="1623"/>
                  </a:lnTo>
                  <a:lnTo>
                    <a:pt x="27" y="1610"/>
                  </a:lnTo>
                  <a:lnTo>
                    <a:pt x="42" y="1623"/>
                  </a:lnTo>
                  <a:lnTo>
                    <a:pt x="27" y="1652"/>
                  </a:lnTo>
                  <a:lnTo>
                    <a:pt x="27" y="1666"/>
                  </a:lnTo>
                  <a:lnTo>
                    <a:pt x="27" y="1681"/>
                  </a:lnTo>
                  <a:lnTo>
                    <a:pt x="27" y="1695"/>
                  </a:lnTo>
                  <a:lnTo>
                    <a:pt x="27" y="1724"/>
                  </a:lnTo>
                  <a:lnTo>
                    <a:pt x="27" y="1740"/>
                  </a:lnTo>
                  <a:lnTo>
                    <a:pt x="42" y="1753"/>
                  </a:lnTo>
                  <a:lnTo>
                    <a:pt x="27" y="1769"/>
                  </a:lnTo>
                  <a:lnTo>
                    <a:pt x="27" y="1796"/>
                  </a:lnTo>
                  <a:lnTo>
                    <a:pt x="42" y="1809"/>
                  </a:lnTo>
                  <a:lnTo>
                    <a:pt x="58" y="1809"/>
                  </a:lnTo>
                  <a:lnTo>
                    <a:pt x="58" y="1854"/>
                  </a:lnTo>
                  <a:lnTo>
                    <a:pt x="85" y="1868"/>
                  </a:lnTo>
                  <a:lnTo>
                    <a:pt x="85" y="1881"/>
                  </a:lnTo>
                  <a:lnTo>
                    <a:pt x="85" y="1895"/>
                  </a:lnTo>
                  <a:lnTo>
                    <a:pt x="71" y="1895"/>
                  </a:lnTo>
                  <a:lnTo>
                    <a:pt x="71" y="1910"/>
                  </a:lnTo>
                  <a:lnTo>
                    <a:pt x="58" y="1926"/>
                  </a:lnTo>
                  <a:lnTo>
                    <a:pt x="58" y="1939"/>
                  </a:lnTo>
                  <a:lnTo>
                    <a:pt x="58" y="1953"/>
                  </a:lnTo>
                  <a:lnTo>
                    <a:pt x="71" y="1968"/>
                  </a:lnTo>
                  <a:lnTo>
                    <a:pt x="71" y="1982"/>
                  </a:lnTo>
                  <a:lnTo>
                    <a:pt x="85" y="1998"/>
                  </a:lnTo>
                  <a:lnTo>
                    <a:pt x="85" y="2011"/>
                  </a:lnTo>
                  <a:lnTo>
                    <a:pt x="85" y="2040"/>
                  </a:lnTo>
                  <a:lnTo>
                    <a:pt x="71" y="2054"/>
                  </a:lnTo>
                  <a:lnTo>
                    <a:pt x="85" y="2069"/>
                  </a:lnTo>
                  <a:lnTo>
                    <a:pt x="100" y="2054"/>
                  </a:lnTo>
                  <a:lnTo>
                    <a:pt x="114" y="2069"/>
                  </a:lnTo>
                  <a:lnTo>
                    <a:pt x="159" y="2054"/>
                  </a:lnTo>
                  <a:lnTo>
                    <a:pt x="172" y="2069"/>
                  </a:lnTo>
                  <a:lnTo>
                    <a:pt x="188" y="2069"/>
                  </a:lnTo>
                  <a:lnTo>
                    <a:pt x="201" y="2069"/>
                  </a:lnTo>
                  <a:lnTo>
                    <a:pt x="201" y="2054"/>
                  </a:lnTo>
                  <a:lnTo>
                    <a:pt x="201" y="2027"/>
                  </a:lnTo>
                  <a:lnTo>
                    <a:pt x="201" y="1998"/>
                  </a:lnTo>
                  <a:lnTo>
                    <a:pt x="215" y="1982"/>
                  </a:lnTo>
                  <a:lnTo>
                    <a:pt x="230" y="1982"/>
                  </a:lnTo>
                  <a:lnTo>
                    <a:pt x="244" y="1982"/>
                  </a:lnTo>
                  <a:lnTo>
                    <a:pt x="260" y="1968"/>
                  </a:lnTo>
                  <a:lnTo>
                    <a:pt x="244" y="1968"/>
                  </a:lnTo>
                  <a:lnTo>
                    <a:pt x="260" y="1953"/>
                  </a:lnTo>
                  <a:lnTo>
                    <a:pt x="289" y="1939"/>
                  </a:lnTo>
                  <a:lnTo>
                    <a:pt x="318" y="1953"/>
                  </a:lnTo>
                  <a:lnTo>
                    <a:pt x="318" y="1968"/>
                  </a:lnTo>
                  <a:lnTo>
                    <a:pt x="331" y="1968"/>
                  </a:lnTo>
                  <a:lnTo>
                    <a:pt x="360" y="1968"/>
                  </a:lnTo>
                  <a:lnTo>
                    <a:pt x="374" y="1968"/>
                  </a:lnTo>
                  <a:lnTo>
                    <a:pt x="374" y="1939"/>
                  </a:lnTo>
                  <a:lnTo>
                    <a:pt x="374" y="1926"/>
                  </a:lnTo>
                  <a:lnTo>
                    <a:pt x="403" y="1881"/>
                  </a:lnTo>
                  <a:lnTo>
                    <a:pt x="403" y="1854"/>
                  </a:lnTo>
                  <a:lnTo>
                    <a:pt x="417" y="1838"/>
                  </a:lnTo>
                  <a:lnTo>
                    <a:pt x="432" y="1825"/>
                  </a:lnTo>
                  <a:lnTo>
                    <a:pt x="432" y="1809"/>
                  </a:lnTo>
                  <a:lnTo>
                    <a:pt x="417" y="1809"/>
                  </a:lnTo>
                  <a:lnTo>
                    <a:pt x="432" y="1780"/>
                  </a:lnTo>
                  <a:lnTo>
                    <a:pt x="448" y="1769"/>
                  </a:lnTo>
                  <a:lnTo>
                    <a:pt x="432" y="1753"/>
                  </a:lnTo>
                  <a:lnTo>
                    <a:pt x="432" y="1740"/>
                  </a:lnTo>
                  <a:lnTo>
                    <a:pt x="432" y="1724"/>
                  </a:lnTo>
                  <a:lnTo>
                    <a:pt x="448" y="1710"/>
                  </a:lnTo>
                  <a:lnTo>
                    <a:pt x="448" y="1695"/>
                  </a:lnTo>
                  <a:lnTo>
                    <a:pt x="461" y="1666"/>
                  </a:lnTo>
                  <a:lnTo>
                    <a:pt x="461" y="1652"/>
                  </a:lnTo>
                  <a:lnTo>
                    <a:pt x="461" y="1637"/>
                  </a:lnTo>
                  <a:lnTo>
                    <a:pt x="448" y="1610"/>
                  </a:lnTo>
                  <a:lnTo>
                    <a:pt x="477" y="1594"/>
                  </a:lnTo>
                  <a:lnTo>
                    <a:pt x="432" y="1581"/>
                  </a:lnTo>
                  <a:lnTo>
                    <a:pt x="448" y="1565"/>
                  </a:lnTo>
                  <a:lnTo>
                    <a:pt x="477" y="1581"/>
                  </a:lnTo>
                  <a:lnTo>
                    <a:pt x="490" y="1581"/>
                  </a:lnTo>
                  <a:lnTo>
                    <a:pt x="519" y="1551"/>
                  </a:lnTo>
                  <a:lnTo>
                    <a:pt x="519" y="1538"/>
                  </a:lnTo>
                  <a:lnTo>
                    <a:pt x="519" y="1522"/>
                  </a:lnTo>
                  <a:lnTo>
                    <a:pt x="533" y="1522"/>
                  </a:lnTo>
                  <a:lnTo>
                    <a:pt x="548" y="1522"/>
                  </a:lnTo>
                  <a:lnTo>
                    <a:pt x="562" y="1538"/>
                  </a:lnTo>
                  <a:lnTo>
                    <a:pt x="578" y="1509"/>
                  </a:lnTo>
                  <a:lnTo>
                    <a:pt x="591" y="1495"/>
                  </a:lnTo>
                  <a:lnTo>
                    <a:pt x="620" y="1480"/>
                  </a:lnTo>
                  <a:lnTo>
                    <a:pt x="591" y="1466"/>
                  </a:lnTo>
                  <a:lnTo>
                    <a:pt x="591" y="1451"/>
                  </a:lnTo>
                  <a:lnTo>
                    <a:pt x="605" y="1437"/>
                  </a:lnTo>
                  <a:lnTo>
                    <a:pt x="620" y="1437"/>
                  </a:lnTo>
                  <a:lnTo>
                    <a:pt x="649" y="1394"/>
                  </a:lnTo>
                  <a:lnTo>
                    <a:pt x="634" y="1379"/>
                  </a:lnTo>
                  <a:lnTo>
                    <a:pt x="634" y="1350"/>
                  </a:lnTo>
                  <a:lnTo>
                    <a:pt x="605" y="1365"/>
                  </a:lnTo>
                  <a:lnTo>
                    <a:pt x="605" y="1350"/>
                  </a:lnTo>
                  <a:lnTo>
                    <a:pt x="605" y="1336"/>
                  </a:lnTo>
                  <a:lnTo>
                    <a:pt x="591" y="1321"/>
                  </a:lnTo>
                  <a:lnTo>
                    <a:pt x="578" y="1309"/>
                  </a:lnTo>
                  <a:lnTo>
                    <a:pt x="578" y="1294"/>
                  </a:lnTo>
                  <a:lnTo>
                    <a:pt x="578" y="1280"/>
                  </a:lnTo>
                  <a:lnTo>
                    <a:pt x="548" y="1294"/>
                  </a:lnTo>
                  <a:lnTo>
                    <a:pt x="533" y="1280"/>
                  </a:lnTo>
                  <a:lnTo>
                    <a:pt x="519" y="1264"/>
                  </a:lnTo>
                  <a:lnTo>
                    <a:pt x="519" y="1235"/>
                  </a:lnTo>
                  <a:lnTo>
                    <a:pt x="504" y="1222"/>
                  </a:lnTo>
                  <a:lnTo>
                    <a:pt x="504" y="1208"/>
                  </a:lnTo>
                  <a:lnTo>
                    <a:pt x="490" y="1193"/>
                  </a:lnTo>
                  <a:lnTo>
                    <a:pt x="504" y="1193"/>
                  </a:lnTo>
                  <a:lnTo>
                    <a:pt x="519" y="1179"/>
                  </a:lnTo>
                  <a:lnTo>
                    <a:pt x="519" y="1150"/>
                  </a:lnTo>
                  <a:lnTo>
                    <a:pt x="519" y="1135"/>
                  </a:lnTo>
                  <a:lnTo>
                    <a:pt x="519" y="1105"/>
                  </a:lnTo>
                  <a:lnTo>
                    <a:pt x="533" y="1105"/>
                  </a:lnTo>
                  <a:lnTo>
                    <a:pt x="519" y="1092"/>
                  </a:lnTo>
                  <a:lnTo>
                    <a:pt x="533" y="1076"/>
                  </a:lnTo>
                  <a:lnTo>
                    <a:pt x="533" y="1049"/>
                  </a:lnTo>
                  <a:lnTo>
                    <a:pt x="548" y="1036"/>
                  </a:lnTo>
                  <a:lnTo>
                    <a:pt x="548" y="1007"/>
                  </a:lnTo>
                  <a:lnTo>
                    <a:pt x="504" y="1007"/>
                  </a:lnTo>
                  <a:lnTo>
                    <a:pt x="504" y="977"/>
                  </a:lnTo>
                  <a:lnTo>
                    <a:pt x="519" y="962"/>
                  </a:lnTo>
                  <a:lnTo>
                    <a:pt x="548" y="977"/>
                  </a:lnTo>
                  <a:lnTo>
                    <a:pt x="562" y="962"/>
                  </a:lnTo>
                  <a:lnTo>
                    <a:pt x="578" y="962"/>
                  </a:lnTo>
                  <a:lnTo>
                    <a:pt x="591" y="948"/>
                  </a:lnTo>
                  <a:lnTo>
                    <a:pt x="605" y="948"/>
                  </a:lnTo>
                  <a:lnTo>
                    <a:pt x="634" y="935"/>
                  </a:lnTo>
                  <a:lnTo>
                    <a:pt x="620" y="919"/>
                  </a:lnTo>
                  <a:lnTo>
                    <a:pt x="649" y="890"/>
                  </a:lnTo>
                  <a:lnTo>
                    <a:pt x="634" y="877"/>
                  </a:lnTo>
                  <a:lnTo>
                    <a:pt x="663" y="877"/>
                  </a:lnTo>
                  <a:lnTo>
                    <a:pt x="678" y="848"/>
                  </a:lnTo>
                  <a:lnTo>
                    <a:pt x="692" y="861"/>
                  </a:lnTo>
                  <a:lnTo>
                    <a:pt x="721" y="848"/>
                  </a:lnTo>
                  <a:lnTo>
                    <a:pt x="706" y="834"/>
                  </a:lnTo>
                  <a:lnTo>
                    <a:pt x="721" y="818"/>
                  </a:lnTo>
                  <a:lnTo>
                    <a:pt x="735" y="818"/>
                  </a:lnTo>
                  <a:lnTo>
                    <a:pt x="764" y="805"/>
                  </a:lnTo>
                  <a:lnTo>
                    <a:pt x="764" y="776"/>
                  </a:lnTo>
                  <a:lnTo>
                    <a:pt x="764" y="762"/>
                  </a:lnTo>
                  <a:lnTo>
                    <a:pt x="764" y="749"/>
                  </a:lnTo>
                  <a:lnTo>
                    <a:pt x="779" y="720"/>
                  </a:lnTo>
                  <a:lnTo>
                    <a:pt x="793" y="720"/>
                  </a:lnTo>
                  <a:lnTo>
                    <a:pt x="808" y="690"/>
                  </a:lnTo>
                  <a:lnTo>
                    <a:pt x="822" y="675"/>
                  </a:lnTo>
                  <a:lnTo>
                    <a:pt x="808" y="661"/>
                  </a:lnTo>
                  <a:lnTo>
                    <a:pt x="808" y="648"/>
                  </a:lnTo>
                  <a:lnTo>
                    <a:pt x="808" y="619"/>
                  </a:lnTo>
                  <a:lnTo>
                    <a:pt x="808" y="590"/>
                  </a:lnTo>
                  <a:lnTo>
                    <a:pt x="822" y="576"/>
                  </a:lnTo>
                  <a:lnTo>
                    <a:pt x="822" y="560"/>
                  </a:lnTo>
                  <a:lnTo>
                    <a:pt x="822" y="547"/>
                  </a:lnTo>
                  <a:lnTo>
                    <a:pt x="837" y="531"/>
                  </a:lnTo>
                  <a:lnTo>
                    <a:pt x="867" y="531"/>
                  </a:lnTo>
                  <a:lnTo>
                    <a:pt x="867" y="502"/>
                  </a:lnTo>
                  <a:lnTo>
                    <a:pt x="867" y="475"/>
                  </a:lnTo>
                  <a:lnTo>
                    <a:pt x="867" y="460"/>
                  </a:lnTo>
                  <a:lnTo>
                    <a:pt x="880" y="460"/>
                  </a:lnTo>
                  <a:lnTo>
                    <a:pt x="894" y="475"/>
                  </a:lnTo>
                  <a:lnTo>
                    <a:pt x="923" y="446"/>
                  </a:lnTo>
                  <a:lnTo>
                    <a:pt x="936" y="460"/>
                  </a:lnTo>
                  <a:lnTo>
                    <a:pt x="952" y="460"/>
                  </a:lnTo>
                  <a:lnTo>
                    <a:pt x="967" y="460"/>
                  </a:lnTo>
                  <a:lnTo>
                    <a:pt x="979" y="475"/>
                  </a:lnTo>
                  <a:lnTo>
                    <a:pt x="995" y="460"/>
                  </a:lnTo>
                  <a:lnTo>
                    <a:pt x="995" y="460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81" name="Freeform 6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5330825" y="1752601"/>
              <a:ext cx="830263" cy="1277938"/>
            </a:xfrm>
            <a:custGeom>
              <a:avLst/>
              <a:gdLst>
                <a:gd name="T0" fmla="*/ 462 w 852"/>
                <a:gd name="T1" fmla="*/ 144 h 1565"/>
                <a:gd name="T2" fmla="*/ 475 w 852"/>
                <a:gd name="T3" fmla="*/ 72 h 1565"/>
                <a:gd name="T4" fmla="*/ 390 w 852"/>
                <a:gd name="T5" fmla="*/ 29 h 1565"/>
                <a:gd name="T6" fmla="*/ 345 w 852"/>
                <a:gd name="T7" fmla="*/ 29 h 1565"/>
                <a:gd name="T8" fmla="*/ 287 w 852"/>
                <a:gd name="T9" fmla="*/ 130 h 1565"/>
                <a:gd name="T10" fmla="*/ 274 w 852"/>
                <a:gd name="T11" fmla="*/ 186 h 1565"/>
                <a:gd name="T12" fmla="*/ 217 w 852"/>
                <a:gd name="T13" fmla="*/ 243 h 1565"/>
                <a:gd name="T14" fmla="*/ 130 w 852"/>
                <a:gd name="T15" fmla="*/ 229 h 1565"/>
                <a:gd name="T16" fmla="*/ 72 w 852"/>
                <a:gd name="T17" fmla="*/ 186 h 1565"/>
                <a:gd name="T18" fmla="*/ 14 w 852"/>
                <a:gd name="T19" fmla="*/ 144 h 1565"/>
                <a:gd name="T20" fmla="*/ 58 w 852"/>
                <a:gd name="T21" fmla="*/ 229 h 1565"/>
                <a:gd name="T22" fmla="*/ 101 w 852"/>
                <a:gd name="T23" fmla="*/ 272 h 1565"/>
                <a:gd name="T24" fmla="*/ 173 w 852"/>
                <a:gd name="T25" fmla="*/ 330 h 1565"/>
                <a:gd name="T26" fmla="*/ 186 w 852"/>
                <a:gd name="T27" fmla="*/ 388 h 1565"/>
                <a:gd name="T28" fmla="*/ 202 w 852"/>
                <a:gd name="T29" fmla="*/ 431 h 1565"/>
                <a:gd name="T30" fmla="*/ 217 w 852"/>
                <a:gd name="T31" fmla="*/ 487 h 1565"/>
                <a:gd name="T32" fmla="*/ 217 w 852"/>
                <a:gd name="T33" fmla="*/ 576 h 1565"/>
                <a:gd name="T34" fmla="*/ 245 w 852"/>
                <a:gd name="T35" fmla="*/ 660 h 1565"/>
                <a:gd name="T36" fmla="*/ 303 w 852"/>
                <a:gd name="T37" fmla="*/ 689 h 1565"/>
                <a:gd name="T38" fmla="*/ 316 w 852"/>
                <a:gd name="T39" fmla="*/ 760 h 1565"/>
                <a:gd name="T40" fmla="*/ 316 w 852"/>
                <a:gd name="T41" fmla="*/ 805 h 1565"/>
                <a:gd name="T42" fmla="*/ 258 w 852"/>
                <a:gd name="T43" fmla="*/ 861 h 1565"/>
                <a:gd name="T44" fmla="*/ 202 w 852"/>
                <a:gd name="T45" fmla="*/ 949 h 1565"/>
                <a:gd name="T46" fmla="*/ 173 w 852"/>
                <a:gd name="T47" fmla="*/ 1005 h 1565"/>
                <a:gd name="T48" fmla="*/ 144 w 852"/>
                <a:gd name="T49" fmla="*/ 1034 h 1565"/>
                <a:gd name="T50" fmla="*/ 87 w 852"/>
                <a:gd name="T51" fmla="*/ 1061 h 1565"/>
                <a:gd name="T52" fmla="*/ 58 w 852"/>
                <a:gd name="T53" fmla="*/ 1162 h 1565"/>
                <a:gd name="T54" fmla="*/ 58 w 852"/>
                <a:gd name="T55" fmla="*/ 1236 h 1565"/>
                <a:gd name="T56" fmla="*/ 87 w 852"/>
                <a:gd name="T57" fmla="*/ 1335 h 1565"/>
                <a:gd name="T58" fmla="*/ 58 w 852"/>
                <a:gd name="T59" fmla="*/ 1422 h 1565"/>
                <a:gd name="T60" fmla="*/ 173 w 852"/>
                <a:gd name="T61" fmla="*/ 1480 h 1565"/>
                <a:gd name="T62" fmla="*/ 217 w 852"/>
                <a:gd name="T63" fmla="*/ 1550 h 1565"/>
                <a:gd name="T64" fmla="*/ 303 w 852"/>
                <a:gd name="T65" fmla="*/ 1536 h 1565"/>
                <a:gd name="T66" fmla="*/ 361 w 852"/>
                <a:gd name="T67" fmla="*/ 1521 h 1565"/>
                <a:gd name="T68" fmla="*/ 462 w 852"/>
                <a:gd name="T69" fmla="*/ 1494 h 1565"/>
                <a:gd name="T70" fmla="*/ 491 w 852"/>
                <a:gd name="T71" fmla="*/ 1480 h 1565"/>
                <a:gd name="T72" fmla="*/ 563 w 852"/>
                <a:gd name="T73" fmla="*/ 1435 h 1565"/>
                <a:gd name="T74" fmla="*/ 648 w 852"/>
                <a:gd name="T75" fmla="*/ 1364 h 1565"/>
                <a:gd name="T76" fmla="*/ 706 w 852"/>
                <a:gd name="T77" fmla="*/ 1292 h 1565"/>
                <a:gd name="T78" fmla="*/ 749 w 852"/>
                <a:gd name="T79" fmla="*/ 1236 h 1565"/>
                <a:gd name="T80" fmla="*/ 764 w 852"/>
                <a:gd name="T81" fmla="*/ 1162 h 1565"/>
                <a:gd name="T82" fmla="*/ 807 w 852"/>
                <a:gd name="T83" fmla="*/ 1090 h 1565"/>
                <a:gd name="T84" fmla="*/ 822 w 852"/>
                <a:gd name="T85" fmla="*/ 1005 h 1565"/>
                <a:gd name="T86" fmla="*/ 706 w 852"/>
                <a:gd name="T87" fmla="*/ 949 h 1565"/>
                <a:gd name="T88" fmla="*/ 706 w 852"/>
                <a:gd name="T89" fmla="*/ 920 h 1565"/>
                <a:gd name="T90" fmla="*/ 706 w 852"/>
                <a:gd name="T91" fmla="*/ 861 h 1565"/>
                <a:gd name="T92" fmla="*/ 679 w 852"/>
                <a:gd name="T93" fmla="*/ 819 h 1565"/>
                <a:gd name="T94" fmla="*/ 663 w 852"/>
                <a:gd name="T95" fmla="*/ 760 h 1565"/>
                <a:gd name="T96" fmla="*/ 634 w 852"/>
                <a:gd name="T97" fmla="*/ 731 h 1565"/>
                <a:gd name="T98" fmla="*/ 634 w 852"/>
                <a:gd name="T99" fmla="*/ 675 h 1565"/>
                <a:gd name="T100" fmla="*/ 634 w 852"/>
                <a:gd name="T101" fmla="*/ 603 h 1565"/>
                <a:gd name="T102" fmla="*/ 563 w 852"/>
                <a:gd name="T103" fmla="*/ 516 h 1565"/>
                <a:gd name="T104" fmla="*/ 534 w 852"/>
                <a:gd name="T105" fmla="*/ 431 h 1565"/>
                <a:gd name="T106" fmla="*/ 547 w 852"/>
                <a:gd name="T107" fmla="*/ 359 h 1565"/>
                <a:gd name="T108" fmla="*/ 491 w 852"/>
                <a:gd name="T109" fmla="*/ 272 h 1565"/>
                <a:gd name="T110" fmla="*/ 446 w 852"/>
                <a:gd name="T111" fmla="*/ 216 h 1565"/>
                <a:gd name="T112" fmla="*/ 475 w 852"/>
                <a:gd name="T113" fmla="*/ 171 h 1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52" h="1565">
                  <a:moveTo>
                    <a:pt x="475" y="171"/>
                  </a:moveTo>
                  <a:lnTo>
                    <a:pt x="462" y="171"/>
                  </a:lnTo>
                  <a:lnTo>
                    <a:pt x="462" y="157"/>
                  </a:lnTo>
                  <a:lnTo>
                    <a:pt x="462" y="144"/>
                  </a:lnTo>
                  <a:lnTo>
                    <a:pt x="462" y="130"/>
                  </a:lnTo>
                  <a:lnTo>
                    <a:pt x="462" y="101"/>
                  </a:lnTo>
                  <a:lnTo>
                    <a:pt x="475" y="86"/>
                  </a:lnTo>
                  <a:lnTo>
                    <a:pt x="475" y="72"/>
                  </a:lnTo>
                  <a:lnTo>
                    <a:pt x="462" y="57"/>
                  </a:lnTo>
                  <a:lnTo>
                    <a:pt x="446" y="43"/>
                  </a:lnTo>
                  <a:lnTo>
                    <a:pt x="433" y="43"/>
                  </a:lnTo>
                  <a:lnTo>
                    <a:pt x="390" y="29"/>
                  </a:lnTo>
                  <a:lnTo>
                    <a:pt x="406" y="0"/>
                  </a:lnTo>
                  <a:lnTo>
                    <a:pt x="390" y="0"/>
                  </a:lnTo>
                  <a:lnTo>
                    <a:pt x="376" y="14"/>
                  </a:lnTo>
                  <a:lnTo>
                    <a:pt x="345" y="29"/>
                  </a:lnTo>
                  <a:lnTo>
                    <a:pt x="316" y="29"/>
                  </a:lnTo>
                  <a:lnTo>
                    <a:pt x="303" y="43"/>
                  </a:lnTo>
                  <a:lnTo>
                    <a:pt x="303" y="101"/>
                  </a:lnTo>
                  <a:lnTo>
                    <a:pt x="287" y="130"/>
                  </a:lnTo>
                  <a:lnTo>
                    <a:pt x="287" y="144"/>
                  </a:lnTo>
                  <a:lnTo>
                    <a:pt x="287" y="157"/>
                  </a:lnTo>
                  <a:lnTo>
                    <a:pt x="287" y="171"/>
                  </a:lnTo>
                  <a:lnTo>
                    <a:pt x="274" y="186"/>
                  </a:lnTo>
                  <a:lnTo>
                    <a:pt x="258" y="216"/>
                  </a:lnTo>
                  <a:lnTo>
                    <a:pt x="258" y="229"/>
                  </a:lnTo>
                  <a:lnTo>
                    <a:pt x="245" y="229"/>
                  </a:lnTo>
                  <a:lnTo>
                    <a:pt x="217" y="243"/>
                  </a:lnTo>
                  <a:lnTo>
                    <a:pt x="202" y="216"/>
                  </a:lnTo>
                  <a:lnTo>
                    <a:pt x="186" y="216"/>
                  </a:lnTo>
                  <a:lnTo>
                    <a:pt x="173" y="229"/>
                  </a:lnTo>
                  <a:lnTo>
                    <a:pt x="130" y="229"/>
                  </a:lnTo>
                  <a:lnTo>
                    <a:pt x="117" y="216"/>
                  </a:lnTo>
                  <a:lnTo>
                    <a:pt x="101" y="216"/>
                  </a:lnTo>
                  <a:lnTo>
                    <a:pt x="87" y="216"/>
                  </a:lnTo>
                  <a:lnTo>
                    <a:pt x="72" y="186"/>
                  </a:lnTo>
                  <a:lnTo>
                    <a:pt x="72" y="171"/>
                  </a:lnTo>
                  <a:lnTo>
                    <a:pt x="43" y="157"/>
                  </a:lnTo>
                  <a:lnTo>
                    <a:pt x="29" y="144"/>
                  </a:lnTo>
                  <a:lnTo>
                    <a:pt x="14" y="144"/>
                  </a:lnTo>
                  <a:lnTo>
                    <a:pt x="0" y="171"/>
                  </a:lnTo>
                  <a:lnTo>
                    <a:pt x="0" y="200"/>
                  </a:lnTo>
                  <a:lnTo>
                    <a:pt x="29" y="216"/>
                  </a:lnTo>
                  <a:lnTo>
                    <a:pt x="58" y="229"/>
                  </a:lnTo>
                  <a:lnTo>
                    <a:pt x="58" y="258"/>
                  </a:lnTo>
                  <a:lnTo>
                    <a:pt x="72" y="258"/>
                  </a:lnTo>
                  <a:lnTo>
                    <a:pt x="87" y="272"/>
                  </a:lnTo>
                  <a:lnTo>
                    <a:pt x="101" y="272"/>
                  </a:lnTo>
                  <a:lnTo>
                    <a:pt x="130" y="287"/>
                  </a:lnTo>
                  <a:lnTo>
                    <a:pt x="159" y="301"/>
                  </a:lnTo>
                  <a:lnTo>
                    <a:pt x="173" y="301"/>
                  </a:lnTo>
                  <a:lnTo>
                    <a:pt x="173" y="330"/>
                  </a:lnTo>
                  <a:lnTo>
                    <a:pt x="186" y="344"/>
                  </a:lnTo>
                  <a:lnTo>
                    <a:pt x="186" y="359"/>
                  </a:lnTo>
                  <a:lnTo>
                    <a:pt x="186" y="373"/>
                  </a:lnTo>
                  <a:lnTo>
                    <a:pt x="186" y="388"/>
                  </a:lnTo>
                  <a:lnTo>
                    <a:pt x="186" y="402"/>
                  </a:lnTo>
                  <a:lnTo>
                    <a:pt x="173" y="415"/>
                  </a:lnTo>
                  <a:lnTo>
                    <a:pt x="202" y="415"/>
                  </a:lnTo>
                  <a:lnTo>
                    <a:pt x="202" y="431"/>
                  </a:lnTo>
                  <a:lnTo>
                    <a:pt x="202" y="444"/>
                  </a:lnTo>
                  <a:lnTo>
                    <a:pt x="202" y="458"/>
                  </a:lnTo>
                  <a:lnTo>
                    <a:pt x="217" y="473"/>
                  </a:lnTo>
                  <a:lnTo>
                    <a:pt x="217" y="487"/>
                  </a:lnTo>
                  <a:lnTo>
                    <a:pt x="229" y="503"/>
                  </a:lnTo>
                  <a:lnTo>
                    <a:pt x="217" y="516"/>
                  </a:lnTo>
                  <a:lnTo>
                    <a:pt x="217" y="545"/>
                  </a:lnTo>
                  <a:lnTo>
                    <a:pt x="217" y="576"/>
                  </a:lnTo>
                  <a:lnTo>
                    <a:pt x="217" y="590"/>
                  </a:lnTo>
                  <a:lnTo>
                    <a:pt x="229" y="617"/>
                  </a:lnTo>
                  <a:lnTo>
                    <a:pt x="245" y="631"/>
                  </a:lnTo>
                  <a:lnTo>
                    <a:pt x="245" y="660"/>
                  </a:lnTo>
                  <a:lnTo>
                    <a:pt x="258" y="660"/>
                  </a:lnTo>
                  <a:lnTo>
                    <a:pt x="274" y="675"/>
                  </a:lnTo>
                  <a:lnTo>
                    <a:pt x="303" y="675"/>
                  </a:lnTo>
                  <a:lnTo>
                    <a:pt x="303" y="689"/>
                  </a:lnTo>
                  <a:lnTo>
                    <a:pt x="316" y="702"/>
                  </a:lnTo>
                  <a:lnTo>
                    <a:pt x="316" y="718"/>
                  </a:lnTo>
                  <a:lnTo>
                    <a:pt x="316" y="731"/>
                  </a:lnTo>
                  <a:lnTo>
                    <a:pt x="316" y="760"/>
                  </a:lnTo>
                  <a:lnTo>
                    <a:pt x="316" y="776"/>
                  </a:lnTo>
                  <a:lnTo>
                    <a:pt x="332" y="790"/>
                  </a:lnTo>
                  <a:lnTo>
                    <a:pt x="332" y="805"/>
                  </a:lnTo>
                  <a:lnTo>
                    <a:pt x="316" y="805"/>
                  </a:lnTo>
                  <a:lnTo>
                    <a:pt x="303" y="805"/>
                  </a:lnTo>
                  <a:lnTo>
                    <a:pt x="287" y="805"/>
                  </a:lnTo>
                  <a:lnTo>
                    <a:pt x="287" y="819"/>
                  </a:lnTo>
                  <a:lnTo>
                    <a:pt x="258" y="861"/>
                  </a:lnTo>
                  <a:lnTo>
                    <a:pt x="258" y="875"/>
                  </a:lnTo>
                  <a:lnTo>
                    <a:pt x="245" y="904"/>
                  </a:lnTo>
                  <a:lnTo>
                    <a:pt x="229" y="920"/>
                  </a:lnTo>
                  <a:lnTo>
                    <a:pt x="202" y="949"/>
                  </a:lnTo>
                  <a:lnTo>
                    <a:pt x="202" y="962"/>
                  </a:lnTo>
                  <a:lnTo>
                    <a:pt x="202" y="976"/>
                  </a:lnTo>
                  <a:lnTo>
                    <a:pt x="173" y="991"/>
                  </a:lnTo>
                  <a:lnTo>
                    <a:pt x="173" y="1005"/>
                  </a:lnTo>
                  <a:lnTo>
                    <a:pt x="173" y="991"/>
                  </a:lnTo>
                  <a:lnTo>
                    <a:pt x="159" y="1005"/>
                  </a:lnTo>
                  <a:lnTo>
                    <a:pt x="144" y="1018"/>
                  </a:lnTo>
                  <a:lnTo>
                    <a:pt x="144" y="1034"/>
                  </a:lnTo>
                  <a:lnTo>
                    <a:pt x="144" y="1061"/>
                  </a:lnTo>
                  <a:lnTo>
                    <a:pt x="117" y="1077"/>
                  </a:lnTo>
                  <a:lnTo>
                    <a:pt x="101" y="1061"/>
                  </a:lnTo>
                  <a:lnTo>
                    <a:pt x="87" y="1061"/>
                  </a:lnTo>
                  <a:lnTo>
                    <a:pt x="87" y="1090"/>
                  </a:lnTo>
                  <a:lnTo>
                    <a:pt x="58" y="1119"/>
                  </a:lnTo>
                  <a:lnTo>
                    <a:pt x="58" y="1148"/>
                  </a:lnTo>
                  <a:lnTo>
                    <a:pt x="58" y="1162"/>
                  </a:lnTo>
                  <a:lnTo>
                    <a:pt x="72" y="1177"/>
                  </a:lnTo>
                  <a:lnTo>
                    <a:pt x="72" y="1207"/>
                  </a:lnTo>
                  <a:lnTo>
                    <a:pt x="58" y="1220"/>
                  </a:lnTo>
                  <a:lnTo>
                    <a:pt x="58" y="1236"/>
                  </a:lnTo>
                  <a:lnTo>
                    <a:pt x="87" y="1249"/>
                  </a:lnTo>
                  <a:lnTo>
                    <a:pt x="87" y="1263"/>
                  </a:lnTo>
                  <a:lnTo>
                    <a:pt x="87" y="1292"/>
                  </a:lnTo>
                  <a:lnTo>
                    <a:pt x="87" y="1335"/>
                  </a:lnTo>
                  <a:lnTo>
                    <a:pt x="87" y="1364"/>
                  </a:lnTo>
                  <a:lnTo>
                    <a:pt x="58" y="1379"/>
                  </a:lnTo>
                  <a:lnTo>
                    <a:pt x="58" y="1408"/>
                  </a:lnTo>
                  <a:lnTo>
                    <a:pt x="58" y="1422"/>
                  </a:lnTo>
                  <a:lnTo>
                    <a:pt x="87" y="1464"/>
                  </a:lnTo>
                  <a:lnTo>
                    <a:pt x="130" y="1464"/>
                  </a:lnTo>
                  <a:lnTo>
                    <a:pt x="144" y="1480"/>
                  </a:lnTo>
                  <a:lnTo>
                    <a:pt x="173" y="1480"/>
                  </a:lnTo>
                  <a:lnTo>
                    <a:pt x="186" y="1480"/>
                  </a:lnTo>
                  <a:lnTo>
                    <a:pt x="202" y="1509"/>
                  </a:lnTo>
                  <a:lnTo>
                    <a:pt x="202" y="1536"/>
                  </a:lnTo>
                  <a:lnTo>
                    <a:pt x="217" y="1550"/>
                  </a:lnTo>
                  <a:lnTo>
                    <a:pt x="229" y="1565"/>
                  </a:lnTo>
                  <a:lnTo>
                    <a:pt x="274" y="1565"/>
                  </a:lnTo>
                  <a:lnTo>
                    <a:pt x="287" y="1565"/>
                  </a:lnTo>
                  <a:lnTo>
                    <a:pt x="303" y="1536"/>
                  </a:lnTo>
                  <a:lnTo>
                    <a:pt x="316" y="1521"/>
                  </a:lnTo>
                  <a:lnTo>
                    <a:pt x="332" y="1550"/>
                  </a:lnTo>
                  <a:lnTo>
                    <a:pt x="345" y="1536"/>
                  </a:lnTo>
                  <a:lnTo>
                    <a:pt x="361" y="1521"/>
                  </a:lnTo>
                  <a:lnTo>
                    <a:pt x="390" y="1509"/>
                  </a:lnTo>
                  <a:lnTo>
                    <a:pt x="433" y="1494"/>
                  </a:lnTo>
                  <a:lnTo>
                    <a:pt x="446" y="1494"/>
                  </a:lnTo>
                  <a:lnTo>
                    <a:pt x="462" y="1494"/>
                  </a:lnTo>
                  <a:lnTo>
                    <a:pt x="462" y="1480"/>
                  </a:lnTo>
                  <a:lnTo>
                    <a:pt x="462" y="1464"/>
                  </a:lnTo>
                  <a:lnTo>
                    <a:pt x="475" y="1451"/>
                  </a:lnTo>
                  <a:lnTo>
                    <a:pt x="491" y="1480"/>
                  </a:lnTo>
                  <a:lnTo>
                    <a:pt x="504" y="1464"/>
                  </a:lnTo>
                  <a:lnTo>
                    <a:pt x="534" y="1451"/>
                  </a:lnTo>
                  <a:lnTo>
                    <a:pt x="547" y="1422"/>
                  </a:lnTo>
                  <a:lnTo>
                    <a:pt x="563" y="1435"/>
                  </a:lnTo>
                  <a:lnTo>
                    <a:pt x="592" y="1435"/>
                  </a:lnTo>
                  <a:lnTo>
                    <a:pt x="605" y="1435"/>
                  </a:lnTo>
                  <a:lnTo>
                    <a:pt x="621" y="1422"/>
                  </a:lnTo>
                  <a:lnTo>
                    <a:pt x="648" y="1364"/>
                  </a:lnTo>
                  <a:lnTo>
                    <a:pt x="663" y="1350"/>
                  </a:lnTo>
                  <a:lnTo>
                    <a:pt x="679" y="1321"/>
                  </a:lnTo>
                  <a:lnTo>
                    <a:pt x="693" y="1305"/>
                  </a:lnTo>
                  <a:lnTo>
                    <a:pt x="706" y="1292"/>
                  </a:lnTo>
                  <a:lnTo>
                    <a:pt x="722" y="1263"/>
                  </a:lnTo>
                  <a:lnTo>
                    <a:pt x="735" y="1220"/>
                  </a:lnTo>
                  <a:lnTo>
                    <a:pt x="735" y="1236"/>
                  </a:lnTo>
                  <a:lnTo>
                    <a:pt x="749" y="1236"/>
                  </a:lnTo>
                  <a:lnTo>
                    <a:pt x="764" y="1220"/>
                  </a:lnTo>
                  <a:lnTo>
                    <a:pt x="749" y="1207"/>
                  </a:lnTo>
                  <a:lnTo>
                    <a:pt x="764" y="1191"/>
                  </a:lnTo>
                  <a:lnTo>
                    <a:pt x="764" y="1162"/>
                  </a:lnTo>
                  <a:lnTo>
                    <a:pt x="778" y="1148"/>
                  </a:lnTo>
                  <a:lnTo>
                    <a:pt x="793" y="1135"/>
                  </a:lnTo>
                  <a:lnTo>
                    <a:pt x="793" y="1119"/>
                  </a:lnTo>
                  <a:lnTo>
                    <a:pt x="807" y="1090"/>
                  </a:lnTo>
                  <a:lnTo>
                    <a:pt x="836" y="1077"/>
                  </a:lnTo>
                  <a:lnTo>
                    <a:pt x="852" y="1048"/>
                  </a:lnTo>
                  <a:lnTo>
                    <a:pt x="836" y="1018"/>
                  </a:lnTo>
                  <a:lnTo>
                    <a:pt x="822" y="1005"/>
                  </a:lnTo>
                  <a:lnTo>
                    <a:pt x="778" y="991"/>
                  </a:lnTo>
                  <a:lnTo>
                    <a:pt x="735" y="976"/>
                  </a:lnTo>
                  <a:lnTo>
                    <a:pt x="722" y="962"/>
                  </a:lnTo>
                  <a:lnTo>
                    <a:pt x="706" y="949"/>
                  </a:lnTo>
                  <a:lnTo>
                    <a:pt x="693" y="949"/>
                  </a:lnTo>
                  <a:lnTo>
                    <a:pt x="679" y="920"/>
                  </a:lnTo>
                  <a:lnTo>
                    <a:pt x="693" y="920"/>
                  </a:lnTo>
                  <a:lnTo>
                    <a:pt x="706" y="920"/>
                  </a:lnTo>
                  <a:lnTo>
                    <a:pt x="722" y="904"/>
                  </a:lnTo>
                  <a:lnTo>
                    <a:pt x="722" y="890"/>
                  </a:lnTo>
                  <a:lnTo>
                    <a:pt x="722" y="875"/>
                  </a:lnTo>
                  <a:lnTo>
                    <a:pt x="706" y="861"/>
                  </a:lnTo>
                  <a:lnTo>
                    <a:pt x="706" y="848"/>
                  </a:lnTo>
                  <a:lnTo>
                    <a:pt x="679" y="848"/>
                  </a:lnTo>
                  <a:lnTo>
                    <a:pt x="679" y="832"/>
                  </a:lnTo>
                  <a:lnTo>
                    <a:pt x="679" y="819"/>
                  </a:lnTo>
                  <a:lnTo>
                    <a:pt x="648" y="805"/>
                  </a:lnTo>
                  <a:lnTo>
                    <a:pt x="679" y="790"/>
                  </a:lnTo>
                  <a:lnTo>
                    <a:pt x="663" y="776"/>
                  </a:lnTo>
                  <a:lnTo>
                    <a:pt x="663" y="760"/>
                  </a:lnTo>
                  <a:lnTo>
                    <a:pt x="648" y="776"/>
                  </a:lnTo>
                  <a:lnTo>
                    <a:pt x="634" y="760"/>
                  </a:lnTo>
                  <a:lnTo>
                    <a:pt x="634" y="747"/>
                  </a:lnTo>
                  <a:lnTo>
                    <a:pt x="634" y="731"/>
                  </a:lnTo>
                  <a:lnTo>
                    <a:pt x="634" y="718"/>
                  </a:lnTo>
                  <a:lnTo>
                    <a:pt x="621" y="702"/>
                  </a:lnTo>
                  <a:lnTo>
                    <a:pt x="621" y="689"/>
                  </a:lnTo>
                  <a:lnTo>
                    <a:pt x="634" y="675"/>
                  </a:lnTo>
                  <a:lnTo>
                    <a:pt x="621" y="646"/>
                  </a:lnTo>
                  <a:lnTo>
                    <a:pt x="634" y="631"/>
                  </a:lnTo>
                  <a:lnTo>
                    <a:pt x="634" y="617"/>
                  </a:lnTo>
                  <a:lnTo>
                    <a:pt x="634" y="603"/>
                  </a:lnTo>
                  <a:lnTo>
                    <a:pt x="621" y="576"/>
                  </a:lnTo>
                  <a:lnTo>
                    <a:pt x="605" y="545"/>
                  </a:lnTo>
                  <a:lnTo>
                    <a:pt x="592" y="532"/>
                  </a:lnTo>
                  <a:lnTo>
                    <a:pt x="563" y="516"/>
                  </a:lnTo>
                  <a:lnTo>
                    <a:pt x="563" y="503"/>
                  </a:lnTo>
                  <a:lnTo>
                    <a:pt x="547" y="487"/>
                  </a:lnTo>
                  <a:lnTo>
                    <a:pt x="534" y="458"/>
                  </a:lnTo>
                  <a:lnTo>
                    <a:pt x="534" y="431"/>
                  </a:lnTo>
                  <a:lnTo>
                    <a:pt x="534" y="415"/>
                  </a:lnTo>
                  <a:lnTo>
                    <a:pt x="534" y="388"/>
                  </a:lnTo>
                  <a:lnTo>
                    <a:pt x="547" y="373"/>
                  </a:lnTo>
                  <a:lnTo>
                    <a:pt x="547" y="359"/>
                  </a:lnTo>
                  <a:lnTo>
                    <a:pt x="547" y="330"/>
                  </a:lnTo>
                  <a:lnTo>
                    <a:pt x="518" y="301"/>
                  </a:lnTo>
                  <a:lnTo>
                    <a:pt x="491" y="287"/>
                  </a:lnTo>
                  <a:lnTo>
                    <a:pt x="491" y="272"/>
                  </a:lnTo>
                  <a:lnTo>
                    <a:pt x="475" y="258"/>
                  </a:lnTo>
                  <a:lnTo>
                    <a:pt x="462" y="243"/>
                  </a:lnTo>
                  <a:lnTo>
                    <a:pt x="446" y="229"/>
                  </a:lnTo>
                  <a:lnTo>
                    <a:pt x="446" y="216"/>
                  </a:lnTo>
                  <a:lnTo>
                    <a:pt x="462" y="200"/>
                  </a:lnTo>
                  <a:lnTo>
                    <a:pt x="462" y="186"/>
                  </a:lnTo>
                  <a:lnTo>
                    <a:pt x="475" y="171"/>
                  </a:lnTo>
                  <a:lnTo>
                    <a:pt x="475" y="171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82" name="Freeform 6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5357813" y="4456113"/>
              <a:ext cx="1017588" cy="633413"/>
            </a:xfrm>
            <a:custGeom>
              <a:avLst/>
              <a:gdLst>
                <a:gd name="T0" fmla="*/ 229 w 1038"/>
                <a:gd name="T1" fmla="*/ 651 h 775"/>
                <a:gd name="T2" fmla="*/ 229 w 1038"/>
                <a:gd name="T3" fmla="*/ 609 h 775"/>
                <a:gd name="T4" fmla="*/ 159 w 1038"/>
                <a:gd name="T5" fmla="*/ 622 h 775"/>
                <a:gd name="T6" fmla="*/ 101 w 1038"/>
                <a:gd name="T7" fmla="*/ 609 h 775"/>
                <a:gd name="T8" fmla="*/ 86 w 1038"/>
                <a:gd name="T9" fmla="*/ 579 h 775"/>
                <a:gd name="T10" fmla="*/ 86 w 1038"/>
                <a:gd name="T11" fmla="*/ 537 h 775"/>
                <a:gd name="T12" fmla="*/ 43 w 1038"/>
                <a:gd name="T13" fmla="*/ 521 h 775"/>
                <a:gd name="T14" fmla="*/ 27 w 1038"/>
                <a:gd name="T15" fmla="*/ 465 h 775"/>
                <a:gd name="T16" fmla="*/ 14 w 1038"/>
                <a:gd name="T17" fmla="*/ 420 h 775"/>
                <a:gd name="T18" fmla="*/ 14 w 1038"/>
                <a:gd name="T19" fmla="*/ 393 h 775"/>
                <a:gd name="T20" fmla="*/ 58 w 1038"/>
                <a:gd name="T21" fmla="*/ 335 h 775"/>
                <a:gd name="T22" fmla="*/ 87 w 1038"/>
                <a:gd name="T23" fmla="*/ 294 h 775"/>
                <a:gd name="T24" fmla="*/ 130 w 1038"/>
                <a:gd name="T25" fmla="*/ 265 h 775"/>
                <a:gd name="T26" fmla="*/ 144 w 1038"/>
                <a:gd name="T27" fmla="*/ 178 h 775"/>
                <a:gd name="T28" fmla="*/ 188 w 1038"/>
                <a:gd name="T29" fmla="*/ 149 h 775"/>
                <a:gd name="T30" fmla="*/ 231 w 1038"/>
                <a:gd name="T31" fmla="*/ 106 h 775"/>
                <a:gd name="T32" fmla="*/ 233 w 1038"/>
                <a:gd name="T33" fmla="*/ 50 h 775"/>
                <a:gd name="T34" fmla="*/ 320 w 1038"/>
                <a:gd name="T35" fmla="*/ 66 h 775"/>
                <a:gd name="T36" fmla="*/ 378 w 1038"/>
                <a:gd name="T37" fmla="*/ 62 h 775"/>
                <a:gd name="T38" fmla="*/ 462 w 1038"/>
                <a:gd name="T39" fmla="*/ 77 h 775"/>
                <a:gd name="T40" fmla="*/ 516 w 1038"/>
                <a:gd name="T41" fmla="*/ 42 h 775"/>
                <a:gd name="T42" fmla="*/ 574 w 1038"/>
                <a:gd name="T43" fmla="*/ 31 h 775"/>
                <a:gd name="T44" fmla="*/ 646 w 1038"/>
                <a:gd name="T45" fmla="*/ 11 h 775"/>
                <a:gd name="T46" fmla="*/ 735 w 1038"/>
                <a:gd name="T47" fmla="*/ 62 h 775"/>
                <a:gd name="T48" fmla="*/ 793 w 1038"/>
                <a:gd name="T49" fmla="*/ 133 h 775"/>
                <a:gd name="T50" fmla="*/ 822 w 1038"/>
                <a:gd name="T51" fmla="*/ 192 h 775"/>
                <a:gd name="T52" fmla="*/ 865 w 1038"/>
                <a:gd name="T53" fmla="*/ 250 h 775"/>
                <a:gd name="T54" fmla="*/ 850 w 1038"/>
                <a:gd name="T55" fmla="*/ 292 h 775"/>
                <a:gd name="T56" fmla="*/ 865 w 1038"/>
                <a:gd name="T57" fmla="*/ 335 h 775"/>
                <a:gd name="T58" fmla="*/ 865 w 1038"/>
                <a:gd name="T59" fmla="*/ 407 h 775"/>
                <a:gd name="T60" fmla="*/ 925 w 1038"/>
                <a:gd name="T61" fmla="*/ 432 h 775"/>
                <a:gd name="T62" fmla="*/ 956 w 1038"/>
                <a:gd name="T63" fmla="*/ 417 h 775"/>
                <a:gd name="T64" fmla="*/ 1009 w 1038"/>
                <a:gd name="T65" fmla="*/ 432 h 775"/>
                <a:gd name="T66" fmla="*/ 1038 w 1038"/>
                <a:gd name="T67" fmla="*/ 492 h 775"/>
                <a:gd name="T68" fmla="*/ 1009 w 1038"/>
                <a:gd name="T69" fmla="*/ 537 h 775"/>
                <a:gd name="T70" fmla="*/ 980 w 1038"/>
                <a:gd name="T71" fmla="*/ 521 h 775"/>
                <a:gd name="T72" fmla="*/ 950 w 1038"/>
                <a:gd name="T73" fmla="*/ 537 h 775"/>
                <a:gd name="T74" fmla="*/ 950 w 1038"/>
                <a:gd name="T75" fmla="*/ 579 h 775"/>
                <a:gd name="T76" fmla="*/ 937 w 1038"/>
                <a:gd name="T77" fmla="*/ 609 h 775"/>
                <a:gd name="T78" fmla="*/ 950 w 1038"/>
                <a:gd name="T79" fmla="*/ 667 h 775"/>
                <a:gd name="T80" fmla="*/ 935 w 1038"/>
                <a:gd name="T81" fmla="*/ 715 h 775"/>
                <a:gd name="T82" fmla="*/ 850 w 1038"/>
                <a:gd name="T83" fmla="*/ 678 h 775"/>
                <a:gd name="T84" fmla="*/ 791 w 1038"/>
                <a:gd name="T85" fmla="*/ 675 h 775"/>
                <a:gd name="T86" fmla="*/ 733 w 1038"/>
                <a:gd name="T87" fmla="*/ 657 h 775"/>
                <a:gd name="T88" fmla="*/ 642 w 1038"/>
                <a:gd name="T89" fmla="*/ 715 h 775"/>
                <a:gd name="T90" fmla="*/ 565 w 1038"/>
                <a:gd name="T91" fmla="*/ 771 h 775"/>
                <a:gd name="T92" fmla="*/ 491 w 1038"/>
                <a:gd name="T93" fmla="*/ 762 h 775"/>
                <a:gd name="T94" fmla="*/ 419 w 1038"/>
                <a:gd name="T95" fmla="*/ 762 h 775"/>
                <a:gd name="T96" fmla="*/ 347 w 1038"/>
                <a:gd name="T97" fmla="*/ 750 h 775"/>
                <a:gd name="T98" fmla="*/ 274 w 1038"/>
                <a:gd name="T99" fmla="*/ 740 h 775"/>
                <a:gd name="T100" fmla="*/ 260 w 1038"/>
                <a:gd name="T101" fmla="*/ 694 h 775"/>
                <a:gd name="T102" fmla="*/ 258 w 1038"/>
                <a:gd name="T103" fmla="*/ 688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8" h="775">
                  <a:moveTo>
                    <a:pt x="258" y="688"/>
                  </a:moveTo>
                  <a:lnTo>
                    <a:pt x="243" y="657"/>
                  </a:lnTo>
                  <a:lnTo>
                    <a:pt x="229" y="651"/>
                  </a:lnTo>
                  <a:lnTo>
                    <a:pt x="229" y="638"/>
                  </a:lnTo>
                  <a:lnTo>
                    <a:pt x="245" y="622"/>
                  </a:lnTo>
                  <a:lnTo>
                    <a:pt x="229" y="609"/>
                  </a:lnTo>
                  <a:lnTo>
                    <a:pt x="202" y="622"/>
                  </a:lnTo>
                  <a:lnTo>
                    <a:pt x="188" y="638"/>
                  </a:lnTo>
                  <a:lnTo>
                    <a:pt x="159" y="622"/>
                  </a:lnTo>
                  <a:lnTo>
                    <a:pt x="144" y="609"/>
                  </a:lnTo>
                  <a:lnTo>
                    <a:pt x="130" y="609"/>
                  </a:lnTo>
                  <a:lnTo>
                    <a:pt x="101" y="609"/>
                  </a:lnTo>
                  <a:lnTo>
                    <a:pt x="86" y="609"/>
                  </a:lnTo>
                  <a:lnTo>
                    <a:pt x="86" y="593"/>
                  </a:lnTo>
                  <a:lnTo>
                    <a:pt x="86" y="579"/>
                  </a:lnTo>
                  <a:lnTo>
                    <a:pt x="101" y="566"/>
                  </a:lnTo>
                  <a:lnTo>
                    <a:pt x="101" y="550"/>
                  </a:lnTo>
                  <a:lnTo>
                    <a:pt x="86" y="537"/>
                  </a:lnTo>
                  <a:lnTo>
                    <a:pt x="72" y="521"/>
                  </a:lnTo>
                  <a:lnTo>
                    <a:pt x="56" y="521"/>
                  </a:lnTo>
                  <a:lnTo>
                    <a:pt x="43" y="521"/>
                  </a:lnTo>
                  <a:lnTo>
                    <a:pt x="43" y="492"/>
                  </a:lnTo>
                  <a:lnTo>
                    <a:pt x="27" y="481"/>
                  </a:lnTo>
                  <a:lnTo>
                    <a:pt x="27" y="465"/>
                  </a:lnTo>
                  <a:lnTo>
                    <a:pt x="27" y="436"/>
                  </a:lnTo>
                  <a:lnTo>
                    <a:pt x="27" y="420"/>
                  </a:lnTo>
                  <a:lnTo>
                    <a:pt x="14" y="420"/>
                  </a:lnTo>
                  <a:lnTo>
                    <a:pt x="0" y="420"/>
                  </a:lnTo>
                  <a:lnTo>
                    <a:pt x="14" y="393"/>
                  </a:lnTo>
                  <a:lnTo>
                    <a:pt x="14" y="393"/>
                  </a:lnTo>
                  <a:lnTo>
                    <a:pt x="29" y="364"/>
                  </a:lnTo>
                  <a:lnTo>
                    <a:pt x="43" y="351"/>
                  </a:lnTo>
                  <a:lnTo>
                    <a:pt x="58" y="335"/>
                  </a:lnTo>
                  <a:lnTo>
                    <a:pt x="72" y="322"/>
                  </a:lnTo>
                  <a:lnTo>
                    <a:pt x="87" y="306"/>
                  </a:lnTo>
                  <a:lnTo>
                    <a:pt x="87" y="294"/>
                  </a:lnTo>
                  <a:lnTo>
                    <a:pt x="101" y="294"/>
                  </a:lnTo>
                  <a:lnTo>
                    <a:pt x="115" y="279"/>
                  </a:lnTo>
                  <a:lnTo>
                    <a:pt x="130" y="265"/>
                  </a:lnTo>
                  <a:lnTo>
                    <a:pt x="130" y="221"/>
                  </a:lnTo>
                  <a:lnTo>
                    <a:pt x="144" y="207"/>
                  </a:lnTo>
                  <a:lnTo>
                    <a:pt x="144" y="178"/>
                  </a:lnTo>
                  <a:lnTo>
                    <a:pt x="159" y="163"/>
                  </a:lnTo>
                  <a:lnTo>
                    <a:pt x="173" y="149"/>
                  </a:lnTo>
                  <a:lnTo>
                    <a:pt x="188" y="149"/>
                  </a:lnTo>
                  <a:lnTo>
                    <a:pt x="202" y="135"/>
                  </a:lnTo>
                  <a:lnTo>
                    <a:pt x="217" y="120"/>
                  </a:lnTo>
                  <a:lnTo>
                    <a:pt x="231" y="106"/>
                  </a:lnTo>
                  <a:lnTo>
                    <a:pt x="231" y="91"/>
                  </a:lnTo>
                  <a:lnTo>
                    <a:pt x="208" y="56"/>
                  </a:lnTo>
                  <a:lnTo>
                    <a:pt x="233" y="50"/>
                  </a:lnTo>
                  <a:lnTo>
                    <a:pt x="274" y="50"/>
                  </a:lnTo>
                  <a:lnTo>
                    <a:pt x="301" y="56"/>
                  </a:lnTo>
                  <a:lnTo>
                    <a:pt x="320" y="66"/>
                  </a:lnTo>
                  <a:lnTo>
                    <a:pt x="336" y="77"/>
                  </a:lnTo>
                  <a:lnTo>
                    <a:pt x="363" y="81"/>
                  </a:lnTo>
                  <a:lnTo>
                    <a:pt x="378" y="62"/>
                  </a:lnTo>
                  <a:lnTo>
                    <a:pt x="404" y="56"/>
                  </a:lnTo>
                  <a:lnTo>
                    <a:pt x="419" y="56"/>
                  </a:lnTo>
                  <a:lnTo>
                    <a:pt x="462" y="77"/>
                  </a:lnTo>
                  <a:lnTo>
                    <a:pt x="477" y="66"/>
                  </a:lnTo>
                  <a:lnTo>
                    <a:pt x="506" y="42"/>
                  </a:lnTo>
                  <a:lnTo>
                    <a:pt x="516" y="42"/>
                  </a:lnTo>
                  <a:lnTo>
                    <a:pt x="541" y="42"/>
                  </a:lnTo>
                  <a:lnTo>
                    <a:pt x="568" y="42"/>
                  </a:lnTo>
                  <a:lnTo>
                    <a:pt x="574" y="31"/>
                  </a:lnTo>
                  <a:lnTo>
                    <a:pt x="580" y="13"/>
                  </a:lnTo>
                  <a:lnTo>
                    <a:pt x="621" y="0"/>
                  </a:lnTo>
                  <a:lnTo>
                    <a:pt x="646" y="11"/>
                  </a:lnTo>
                  <a:lnTo>
                    <a:pt x="677" y="19"/>
                  </a:lnTo>
                  <a:lnTo>
                    <a:pt x="693" y="33"/>
                  </a:lnTo>
                  <a:lnTo>
                    <a:pt x="735" y="62"/>
                  </a:lnTo>
                  <a:lnTo>
                    <a:pt x="729" y="112"/>
                  </a:lnTo>
                  <a:lnTo>
                    <a:pt x="764" y="120"/>
                  </a:lnTo>
                  <a:lnTo>
                    <a:pt x="793" y="133"/>
                  </a:lnTo>
                  <a:lnTo>
                    <a:pt x="793" y="163"/>
                  </a:lnTo>
                  <a:lnTo>
                    <a:pt x="807" y="178"/>
                  </a:lnTo>
                  <a:lnTo>
                    <a:pt x="822" y="192"/>
                  </a:lnTo>
                  <a:lnTo>
                    <a:pt x="850" y="207"/>
                  </a:lnTo>
                  <a:lnTo>
                    <a:pt x="850" y="221"/>
                  </a:lnTo>
                  <a:lnTo>
                    <a:pt x="865" y="250"/>
                  </a:lnTo>
                  <a:lnTo>
                    <a:pt x="865" y="263"/>
                  </a:lnTo>
                  <a:lnTo>
                    <a:pt x="865" y="292"/>
                  </a:lnTo>
                  <a:lnTo>
                    <a:pt x="850" y="292"/>
                  </a:lnTo>
                  <a:lnTo>
                    <a:pt x="850" y="306"/>
                  </a:lnTo>
                  <a:lnTo>
                    <a:pt x="850" y="322"/>
                  </a:lnTo>
                  <a:lnTo>
                    <a:pt x="865" y="335"/>
                  </a:lnTo>
                  <a:lnTo>
                    <a:pt x="865" y="349"/>
                  </a:lnTo>
                  <a:lnTo>
                    <a:pt x="865" y="378"/>
                  </a:lnTo>
                  <a:lnTo>
                    <a:pt x="865" y="407"/>
                  </a:lnTo>
                  <a:lnTo>
                    <a:pt x="879" y="430"/>
                  </a:lnTo>
                  <a:lnTo>
                    <a:pt x="910" y="422"/>
                  </a:lnTo>
                  <a:lnTo>
                    <a:pt x="925" y="432"/>
                  </a:lnTo>
                  <a:lnTo>
                    <a:pt x="935" y="436"/>
                  </a:lnTo>
                  <a:lnTo>
                    <a:pt x="945" y="432"/>
                  </a:lnTo>
                  <a:lnTo>
                    <a:pt x="956" y="417"/>
                  </a:lnTo>
                  <a:lnTo>
                    <a:pt x="987" y="422"/>
                  </a:lnTo>
                  <a:lnTo>
                    <a:pt x="997" y="426"/>
                  </a:lnTo>
                  <a:lnTo>
                    <a:pt x="1009" y="432"/>
                  </a:lnTo>
                  <a:lnTo>
                    <a:pt x="1028" y="457"/>
                  </a:lnTo>
                  <a:lnTo>
                    <a:pt x="1038" y="436"/>
                  </a:lnTo>
                  <a:lnTo>
                    <a:pt x="1038" y="492"/>
                  </a:lnTo>
                  <a:lnTo>
                    <a:pt x="1024" y="521"/>
                  </a:lnTo>
                  <a:lnTo>
                    <a:pt x="1009" y="521"/>
                  </a:lnTo>
                  <a:lnTo>
                    <a:pt x="1009" y="537"/>
                  </a:lnTo>
                  <a:lnTo>
                    <a:pt x="995" y="550"/>
                  </a:lnTo>
                  <a:lnTo>
                    <a:pt x="980" y="550"/>
                  </a:lnTo>
                  <a:lnTo>
                    <a:pt x="980" y="521"/>
                  </a:lnTo>
                  <a:lnTo>
                    <a:pt x="966" y="508"/>
                  </a:lnTo>
                  <a:lnTo>
                    <a:pt x="950" y="521"/>
                  </a:lnTo>
                  <a:lnTo>
                    <a:pt x="950" y="537"/>
                  </a:lnTo>
                  <a:lnTo>
                    <a:pt x="937" y="566"/>
                  </a:lnTo>
                  <a:lnTo>
                    <a:pt x="937" y="579"/>
                  </a:lnTo>
                  <a:lnTo>
                    <a:pt x="950" y="579"/>
                  </a:lnTo>
                  <a:lnTo>
                    <a:pt x="966" y="579"/>
                  </a:lnTo>
                  <a:lnTo>
                    <a:pt x="950" y="593"/>
                  </a:lnTo>
                  <a:lnTo>
                    <a:pt x="937" y="609"/>
                  </a:lnTo>
                  <a:lnTo>
                    <a:pt x="937" y="622"/>
                  </a:lnTo>
                  <a:lnTo>
                    <a:pt x="937" y="651"/>
                  </a:lnTo>
                  <a:lnTo>
                    <a:pt x="950" y="667"/>
                  </a:lnTo>
                  <a:lnTo>
                    <a:pt x="937" y="694"/>
                  </a:lnTo>
                  <a:lnTo>
                    <a:pt x="937" y="709"/>
                  </a:lnTo>
                  <a:lnTo>
                    <a:pt x="935" y="715"/>
                  </a:lnTo>
                  <a:lnTo>
                    <a:pt x="879" y="684"/>
                  </a:lnTo>
                  <a:lnTo>
                    <a:pt x="863" y="684"/>
                  </a:lnTo>
                  <a:lnTo>
                    <a:pt x="850" y="678"/>
                  </a:lnTo>
                  <a:lnTo>
                    <a:pt x="838" y="678"/>
                  </a:lnTo>
                  <a:lnTo>
                    <a:pt x="807" y="684"/>
                  </a:lnTo>
                  <a:lnTo>
                    <a:pt x="791" y="675"/>
                  </a:lnTo>
                  <a:lnTo>
                    <a:pt x="764" y="675"/>
                  </a:lnTo>
                  <a:lnTo>
                    <a:pt x="751" y="675"/>
                  </a:lnTo>
                  <a:lnTo>
                    <a:pt x="733" y="657"/>
                  </a:lnTo>
                  <a:lnTo>
                    <a:pt x="677" y="675"/>
                  </a:lnTo>
                  <a:lnTo>
                    <a:pt x="663" y="678"/>
                  </a:lnTo>
                  <a:lnTo>
                    <a:pt x="642" y="715"/>
                  </a:lnTo>
                  <a:lnTo>
                    <a:pt x="605" y="746"/>
                  </a:lnTo>
                  <a:lnTo>
                    <a:pt x="574" y="756"/>
                  </a:lnTo>
                  <a:lnTo>
                    <a:pt x="565" y="771"/>
                  </a:lnTo>
                  <a:lnTo>
                    <a:pt x="532" y="775"/>
                  </a:lnTo>
                  <a:lnTo>
                    <a:pt x="506" y="762"/>
                  </a:lnTo>
                  <a:lnTo>
                    <a:pt x="491" y="762"/>
                  </a:lnTo>
                  <a:lnTo>
                    <a:pt x="460" y="762"/>
                  </a:lnTo>
                  <a:lnTo>
                    <a:pt x="444" y="762"/>
                  </a:lnTo>
                  <a:lnTo>
                    <a:pt x="419" y="762"/>
                  </a:lnTo>
                  <a:lnTo>
                    <a:pt x="388" y="762"/>
                  </a:lnTo>
                  <a:lnTo>
                    <a:pt x="369" y="750"/>
                  </a:lnTo>
                  <a:lnTo>
                    <a:pt x="347" y="750"/>
                  </a:lnTo>
                  <a:lnTo>
                    <a:pt x="316" y="750"/>
                  </a:lnTo>
                  <a:lnTo>
                    <a:pt x="291" y="750"/>
                  </a:lnTo>
                  <a:lnTo>
                    <a:pt x="274" y="740"/>
                  </a:lnTo>
                  <a:lnTo>
                    <a:pt x="270" y="719"/>
                  </a:lnTo>
                  <a:lnTo>
                    <a:pt x="264" y="700"/>
                  </a:lnTo>
                  <a:lnTo>
                    <a:pt x="260" y="694"/>
                  </a:lnTo>
                  <a:lnTo>
                    <a:pt x="260" y="688"/>
                  </a:lnTo>
                  <a:lnTo>
                    <a:pt x="260" y="688"/>
                  </a:lnTo>
                  <a:lnTo>
                    <a:pt x="258" y="688"/>
                  </a:lnTo>
                  <a:close/>
                </a:path>
              </a:pathLst>
            </a:custGeom>
            <a:solidFill>
              <a:srgbClr val="FF0000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FFFF"/>
                </a:solidFill>
              </a:endParaRPr>
            </a:p>
          </p:txBody>
        </p:sp>
        <p:sp>
          <p:nvSpPr>
            <p:cNvPr id="283" name="Freeform 6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6037263" y="5254626"/>
              <a:ext cx="338138" cy="236538"/>
            </a:xfrm>
            <a:custGeom>
              <a:avLst/>
              <a:gdLst>
                <a:gd name="T0" fmla="*/ 160 w 257"/>
                <a:gd name="T1" fmla="*/ 13 h 194"/>
                <a:gd name="T2" fmla="*/ 171 w 257"/>
                <a:gd name="T3" fmla="*/ 22 h 194"/>
                <a:gd name="T4" fmla="*/ 171 w 257"/>
                <a:gd name="T5" fmla="*/ 33 h 194"/>
                <a:gd name="T6" fmla="*/ 171 w 257"/>
                <a:gd name="T7" fmla="*/ 42 h 194"/>
                <a:gd name="T8" fmla="*/ 191 w 257"/>
                <a:gd name="T9" fmla="*/ 42 h 194"/>
                <a:gd name="T10" fmla="*/ 214 w 257"/>
                <a:gd name="T11" fmla="*/ 61 h 194"/>
                <a:gd name="T12" fmla="*/ 225 w 257"/>
                <a:gd name="T13" fmla="*/ 61 h 194"/>
                <a:gd name="T14" fmla="*/ 247 w 257"/>
                <a:gd name="T15" fmla="*/ 70 h 194"/>
                <a:gd name="T16" fmla="*/ 257 w 257"/>
                <a:gd name="T17" fmla="*/ 70 h 194"/>
                <a:gd name="T18" fmla="*/ 257 w 257"/>
                <a:gd name="T19" fmla="*/ 90 h 194"/>
                <a:gd name="T20" fmla="*/ 247 w 257"/>
                <a:gd name="T21" fmla="*/ 99 h 194"/>
                <a:gd name="T22" fmla="*/ 235 w 257"/>
                <a:gd name="T23" fmla="*/ 99 h 194"/>
                <a:gd name="T24" fmla="*/ 214 w 257"/>
                <a:gd name="T25" fmla="*/ 99 h 194"/>
                <a:gd name="T26" fmla="*/ 191 w 257"/>
                <a:gd name="T27" fmla="*/ 99 h 194"/>
                <a:gd name="T28" fmla="*/ 182 w 257"/>
                <a:gd name="T29" fmla="*/ 99 h 194"/>
                <a:gd name="T30" fmla="*/ 160 w 257"/>
                <a:gd name="T31" fmla="*/ 107 h 194"/>
                <a:gd name="T32" fmla="*/ 150 w 257"/>
                <a:gd name="T33" fmla="*/ 118 h 194"/>
                <a:gd name="T34" fmla="*/ 139 w 257"/>
                <a:gd name="T35" fmla="*/ 127 h 194"/>
                <a:gd name="T36" fmla="*/ 117 w 257"/>
                <a:gd name="T37" fmla="*/ 137 h 194"/>
                <a:gd name="T38" fmla="*/ 107 w 257"/>
                <a:gd name="T39" fmla="*/ 146 h 194"/>
                <a:gd name="T40" fmla="*/ 107 w 257"/>
                <a:gd name="T41" fmla="*/ 155 h 194"/>
                <a:gd name="T42" fmla="*/ 85 w 257"/>
                <a:gd name="T43" fmla="*/ 165 h 194"/>
                <a:gd name="T44" fmla="*/ 74 w 257"/>
                <a:gd name="T45" fmla="*/ 176 h 194"/>
                <a:gd name="T46" fmla="*/ 43 w 257"/>
                <a:gd name="T47" fmla="*/ 185 h 194"/>
                <a:gd name="T48" fmla="*/ 31 w 257"/>
                <a:gd name="T49" fmla="*/ 194 h 194"/>
                <a:gd name="T50" fmla="*/ 20 w 257"/>
                <a:gd name="T51" fmla="*/ 185 h 194"/>
                <a:gd name="T52" fmla="*/ 43 w 257"/>
                <a:gd name="T53" fmla="*/ 165 h 194"/>
                <a:gd name="T54" fmla="*/ 53 w 257"/>
                <a:gd name="T55" fmla="*/ 165 h 194"/>
                <a:gd name="T56" fmla="*/ 53 w 257"/>
                <a:gd name="T57" fmla="*/ 155 h 194"/>
                <a:gd name="T58" fmla="*/ 53 w 257"/>
                <a:gd name="T59" fmla="*/ 146 h 194"/>
                <a:gd name="T60" fmla="*/ 43 w 257"/>
                <a:gd name="T61" fmla="*/ 155 h 194"/>
                <a:gd name="T62" fmla="*/ 31 w 257"/>
                <a:gd name="T63" fmla="*/ 155 h 194"/>
                <a:gd name="T64" fmla="*/ 10 w 257"/>
                <a:gd name="T65" fmla="*/ 155 h 194"/>
                <a:gd name="T66" fmla="*/ 0 w 257"/>
                <a:gd name="T67" fmla="*/ 146 h 194"/>
                <a:gd name="T68" fmla="*/ 10 w 257"/>
                <a:gd name="T69" fmla="*/ 137 h 194"/>
                <a:gd name="T70" fmla="*/ 10 w 257"/>
                <a:gd name="T71" fmla="*/ 127 h 194"/>
                <a:gd name="T72" fmla="*/ 20 w 257"/>
                <a:gd name="T73" fmla="*/ 118 h 194"/>
                <a:gd name="T74" fmla="*/ 20 w 257"/>
                <a:gd name="T75" fmla="*/ 99 h 194"/>
                <a:gd name="T76" fmla="*/ 20 w 257"/>
                <a:gd name="T77" fmla="*/ 90 h 194"/>
                <a:gd name="T78" fmla="*/ 31 w 257"/>
                <a:gd name="T79" fmla="*/ 90 h 194"/>
                <a:gd name="T80" fmla="*/ 31 w 257"/>
                <a:gd name="T81" fmla="*/ 80 h 194"/>
                <a:gd name="T82" fmla="*/ 43 w 257"/>
                <a:gd name="T83" fmla="*/ 70 h 194"/>
                <a:gd name="T84" fmla="*/ 43 w 257"/>
                <a:gd name="T85" fmla="*/ 61 h 194"/>
                <a:gd name="T86" fmla="*/ 43 w 257"/>
                <a:gd name="T87" fmla="*/ 51 h 194"/>
                <a:gd name="T88" fmla="*/ 31 w 257"/>
                <a:gd name="T89" fmla="*/ 51 h 194"/>
                <a:gd name="T90" fmla="*/ 20 w 257"/>
                <a:gd name="T91" fmla="*/ 42 h 194"/>
                <a:gd name="T92" fmla="*/ 20 w 257"/>
                <a:gd name="T93" fmla="*/ 33 h 194"/>
                <a:gd name="T94" fmla="*/ 31 w 257"/>
                <a:gd name="T95" fmla="*/ 22 h 194"/>
                <a:gd name="T96" fmla="*/ 31 w 257"/>
                <a:gd name="T97" fmla="*/ 13 h 194"/>
                <a:gd name="T98" fmla="*/ 43 w 257"/>
                <a:gd name="T99" fmla="*/ 13 h 194"/>
                <a:gd name="T100" fmla="*/ 53 w 257"/>
                <a:gd name="T101" fmla="*/ 13 h 194"/>
                <a:gd name="T102" fmla="*/ 57 w 257"/>
                <a:gd name="T103" fmla="*/ 0 h 194"/>
                <a:gd name="T104" fmla="*/ 74 w 257"/>
                <a:gd name="T105" fmla="*/ 3 h 194"/>
                <a:gd name="T106" fmla="*/ 85 w 257"/>
                <a:gd name="T107" fmla="*/ 3 h 194"/>
                <a:gd name="T108" fmla="*/ 96 w 257"/>
                <a:gd name="T109" fmla="*/ 3 h 194"/>
                <a:gd name="T110" fmla="*/ 96 w 257"/>
                <a:gd name="T111" fmla="*/ 13 h 194"/>
                <a:gd name="T112" fmla="*/ 107 w 257"/>
                <a:gd name="T113" fmla="*/ 13 h 194"/>
                <a:gd name="T114" fmla="*/ 128 w 257"/>
                <a:gd name="T115" fmla="*/ 13 h 194"/>
                <a:gd name="T116" fmla="*/ 160 w 257"/>
                <a:gd name="T117" fmla="*/ 13 h 194"/>
                <a:gd name="T118" fmla="*/ 160 w 257"/>
                <a:gd name="T119" fmla="*/ 1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7" h="194">
                  <a:moveTo>
                    <a:pt x="160" y="13"/>
                  </a:moveTo>
                  <a:lnTo>
                    <a:pt x="171" y="22"/>
                  </a:lnTo>
                  <a:lnTo>
                    <a:pt x="171" y="33"/>
                  </a:lnTo>
                  <a:lnTo>
                    <a:pt x="171" y="42"/>
                  </a:lnTo>
                  <a:lnTo>
                    <a:pt x="191" y="42"/>
                  </a:lnTo>
                  <a:lnTo>
                    <a:pt x="214" y="61"/>
                  </a:lnTo>
                  <a:lnTo>
                    <a:pt x="225" y="61"/>
                  </a:lnTo>
                  <a:lnTo>
                    <a:pt x="247" y="70"/>
                  </a:lnTo>
                  <a:lnTo>
                    <a:pt x="257" y="70"/>
                  </a:lnTo>
                  <a:lnTo>
                    <a:pt x="257" y="90"/>
                  </a:lnTo>
                  <a:lnTo>
                    <a:pt x="247" y="99"/>
                  </a:lnTo>
                  <a:lnTo>
                    <a:pt x="235" y="99"/>
                  </a:lnTo>
                  <a:lnTo>
                    <a:pt x="214" y="99"/>
                  </a:lnTo>
                  <a:lnTo>
                    <a:pt x="191" y="99"/>
                  </a:lnTo>
                  <a:lnTo>
                    <a:pt x="182" y="99"/>
                  </a:lnTo>
                  <a:lnTo>
                    <a:pt x="160" y="107"/>
                  </a:lnTo>
                  <a:lnTo>
                    <a:pt x="150" y="118"/>
                  </a:lnTo>
                  <a:lnTo>
                    <a:pt x="139" y="127"/>
                  </a:lnTo>
                  <a:lnTo>
                    <a:pt x="117" y="137"/>
                  </a:lnTo>
                  <a:lnTo>
                    <a:pt x="107" y="146"/>
                  </a:lnTo>
                  <a:lnTo>
                    <a:pt x="107" y="155"/>
                  </a:lnTo>
                  <a:lnTo>
                    <a:pt x="85" y="165"/>
                  </a:lnTo>
                  <a:lnTo>
                    <a:pt x="74" y="176"/>
                  </a:lnTo>
                  <a:lnTo>
                    <a:pt x="43" y="185"/>
                  </a:lnTo>
                  <a:lnTo>
                    <a:pt x="31" y="194"/>
                  </a:lnTo>
                  <a:lnTo>
                    <a:pt x="20" y="185"/>
                  </a:lnTo>
                  <a:lnTo>
                    <a:pt x="43" y="165"/>
                  </a:lnTo>
                  <a:lnTo>
                    <a:pt x="53" y="165"/>
                  </a:lnTo>
                  <a:lnTo>
                    <a:pt x="53" y="155"/>
                  </a:lnTo>
                  <a:lnTo>
                    <a:pt x="53" y="146"/>
                  </a:lnTo>
                  <a:lnTo>
                    <a:pt x="43" y="155"/>
                  </a:lnTo>
                  <a:lnTo>
                    <a:pt x="31" y="155"/>
                  </a:lnTo>
                  <a:lnTo>
                    <a:pt x="10" y="155"/>
                  </a:lnTo>
                  <a:lnTo>
                    <a:pt x="0" y="146"/>
                  </a:lnTo>
                  <a:lnTo>
                    <a:pt x="10" y="137"/>
                  </a:lnTo>
                  <a:lnTo>
                    <a:pt x="10" y="127"/>
                  </a:lnTo>
                  <a:lnTo>
                    <a:pt x="20" y="118"/>
                  </a:lnTo>
                  <a:lnTo>
                    <a:pt x="20" y="99"/>
                  </a:lnTo>
                  <a:lnTo>
                    <a:pt x="20" y="90"/>
                  </a:lnTo>
                  <a:lnTo>
                    <a:pt x="31" y="90"/>
                  </a:lnTo>
                  <a:lnTo>
                    <a:pt x="31" y="80"/>
                  </a:lnTo>
                  <a:lnTo>
                    <a:pt x="43" y="70"/>
                  </a:lnTo>
                  <a:lnTo>
                    <a:pt x="43" y="61"/>
                  </a:lnTo>
                  <a:lnTo>
                    <a:pt x="43" y="51"/>
                  </a:lnTo>
                  <a:lnTo>
                    <a:pt x="31" y="51"/>
                  </a:lnTo>
                  <a:lnTo>
                    <a:pt x="20" y="42"/>
                  </a:lnTo>
                  <a:lnTo>
                    <a:pt x="20" y="33"/>
                  </a:lnTo>
                  <a:lnTo>
                    <a:pt x="31" y="22"/>
                  </a:lnTo>
                  <a:lnTo>
                    <a:pt x="31" y="13"/>
                  </a:lnTo>
                  <a:lnTo>
                    <a:pt x="43" y="13"/>
                  </a:lnTo>
                  <a:lnTo>
                    <a:pt x="53" y="13"/>
                  </a:lnTo>
                  <a:lnTo>
                    <a:pt x="57" y="0"/>
                  </a:lnTo>
                  <a:lnTo>
                    <a:pt x="74" y="3"/>
                  </a:lnTo>
                  <a:lnTo>
                    <a:pt x="85" y="3"/>
                  </a:lnTo>
                  <a:lnTo>
                    <a:pt x="96" y="3"/>
                  </a:lnTo>
                  <a:lnTo>
                    <a:pt x="96" y="13"/>
                  </a:lnTo>
                  <a:lnTo>
                    <a:pt x="107" y="13"/>
                  </a:lnTo>
                  <a:lnTo>
                    <a:pt x="128" y="13"/>
                  </a:lnTo>
                  <a:lnTo>
                    <a:pt x="160" y="13"/>
                  </a:lnTo>
                  <a:lnTo>
                    <a:pt x="160" y="13"/>
                  </a:lnTo>
                  <a:close/>
                </a:path>
              </a:pathLst>
            </a:custGeom>
            <a:solidFill>
              <a:srgbClr val="FF0000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FFFF"/>
                </a:solidFill>
              </a:endParaRPr>
            </a:p>
          </p:txBody>
        </p:sp>
        <p:sp>
          <p:nvSpPr>
            <p:cNvPr id="284" name="Freeform 6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3154363" y="5033963"/>
              <a:ext cx="58738" cy="41275"/>
            </a:xfrm>
            <a:custGeom>
              <a:avLst/>
              <a:gdLst>
                <a:gd name="T0" fmla="*/ 0 w 60"/>
                <a:gd name="T1" fmla="*/ 21 h 52"/>
                <a:gd name="T2" fmla="*/ 7 w 60"/>
                <a:gd name="T3" fmla="*/ 9 h 52"/>
                <a:gd name="T4" fmla="*/ 19 w 60"/>
                <a:gd name="T5" fmla="*/ 3 h 52"/>
                <a:gd name="T6" fmla="*/ 36 w 60"/>
                <a:gd name="T7" fmla="*/ 0 h 52"/>
                <a:gd name="T8" fmla="*/ 46 w 60"/>
                <a:gd name="T9" fmla="*/ 0 h 52"/>
                <a:gd name="T10" fmla="*/ 60 w 60"/>
                <a:gd name="T11" fmla="*/ 19 h 52"/>
                <a:gd name="T12" fmla="*/ 60 w 60"/>
                <a:gd name="T13" fmla="*/ 40 h 52"/>
                <a:gd name="T14" fmla="*/ 46 w 60"/>
                <a:gd name="T15" fmla="*/ 52 h 52"/>
                <a:gd name="T16" fmla="*/ 36 w 60"/>
                <a:gd name="T17" fmla="*/ 52 h 52"/>
                <a:gd name="T18" fmla="*/ 23 w 60"/>
                <a:gd name="T19" fmla="*/ 50 h 52"/>
                <a:gd name="T20" fmla="*/ 7 w 60"/>
                <a:gd name="T21" fmla="*/ 44 h 52"/>
                <a:gd name="T22" fmla="*/ 0 w 60"/>
                <a:gd name="T23" fmla="*/ 21 h 52"/>
                <a:gd name="T24" fmla="*/ 0 w 60"/>
                <a:gd name="T25" fmla="*/ 2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52">
                  <a:moveTo>
                    <a:pt x="0" y="21"/>
                  </a:moveTo>
                  <a:lnTo>
                    <a:pt x="7" y="9"/>
                  </a:lnTo>
                  <a:lnTo>
                    <a:pt x="19" y="3"/>
                  </a:lnTo>
                  <a:lnTo>
                    <a:pt x="36" y="0"/>
                  </a:lnTo>
                  <a:lnTo>
                    <a:pt x="46" y="0"/>
                  </a:lnTo>
                  <a:lnTo>
                    <a:pt x="60" y="19"/>
                  </a:lnTo>
                  <a:lnTo>
                    <a:pt x="60" y="40"/>
                  </a:lnTo>
                  <a:lnTo>
                    <a:pt x="46" y="52"/>
                  </a:lnTo>
                  <a:lnTo>
                    <a:pt x="36" y="52"/>
                  </a:lnTo>
                  <a:lnTo>
                    <a:pt x="23" y="50"/>
                  </a:lnTo>
                  <a:lnTo>
                    <a:pt x="7" y="44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85" name="Freeform 6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4160838" y="4578351"/>
              <a:ext cx="36513" cy="41275"/>
            </a:xfrm>
            <a:custGeom>
              <a:avLst/>
              <a:gdLst>
                <a:gd name="T0" fmla="*/ 18 w 37"/>
                <a:gd name="T1" fmla="*/ 0 h 50"/>
                <a:gd name="T2" fmla="*/ 37 w 37"/>
                <a:gd name="T3" fmla="*/ 15 h 50"/>
                <a:gd name="T4" fmla="*/ 37 w 37"/>
                <a:gd name="T5" fmla="*/ 39 h 50"/>
                <a:gd name="T6" fmla="*/ 33 w 37"/>
                <a:gd name="T7" fmla="*/ 48 h 50"/>
                <a:gd name="T8" fmla="*/ 18 w 37"/>
                <a:gd name="T9" fmla="*/ 50 h 50"/>
                <a:gd name="T10" fmla="*/ 8 w 37"/>
                <a:gd name="T11" fmla="*/ 50 h 50"/>
                <a:gd name="T12" fmla="*/ 0 w 37"/>
                <a:gd name="T13" fmla="*/ 39 h 50"/>
                <a:gd name="T14" fmla="*/ 0 w 37"/>
                <a:gd name="T15" fmla="*/ 14 h 50"/>
                <a:gd name="T16" fmla="*/ 14 w 37"/>
                <a:gd name="T17" fmla="*/ 2 h 50"/>
                <a:gd name="T18" fmla="*/ 18 w 37"/>
                <a:gd name="T19" fmla="*/ 0 h 50"/>
                <a:gd name="T20" fmla="*/ 18 w 3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50">
                  <a:moveTo>
                    <a:pt x="18" y="0"/>
                  </a:moveTo>
                  <a:lnTo>
                    <a:pt x="37" y="15"/>
                  </a:lnTo>
                  <a:lnTo>
                    <a:pt x="37" y="39"/>
                  </a:lnTo>
                  <a:lnTo>
                    <a:pt x="33" y="48"/>
                  </a:lnTo>
                  <a:lnTo>
                    <a:pt x="18" y="50"/>
                  </a:lnTo>
                  <a:lnTo>
                    <a:pt x="8" y="50"/>
                  </a:lnTo>
                  <a:lnTo>
                    <a:pt x="0" y="39"/>
                  </a:lnTo>
                  <a:lnTo>
                    <a:pt x="0" y="14"/>
                  </a:lnTo>
                  <a:lnTo>
                    <a:pt x="14" y="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86" name="Freeform 6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4160838" y="4578351"/>
              <a:ext cx="36513" cy="41275"/>
            </a:xfrm>
            <a:custGeom>
              <a:avLst/>
              <a:gdLst>
                <a:gd name="T0" fmla="*/ 18 w 37"/>
                <a:gd name="T1" fmla="*/ 0 h 50"/>
                <a:gd name="T2" fmla="*/ 37 w 37"/>
                <a:gd name="T3" fmla="*/ 15 h 50"/>
                <a:gd name="T4" fmla="*/ 37 w 37"/>
                <a:gd name="T5" fmla="*/ 39 h 50"/>
                <a:gd name="T6" fmla="*/ 33 w 37"/>
                <a:gd name="T7" fmla="*/ 48 h 50"/>
                <a:gd name="T8" fmla="*/ 18 w 37"/>
                <a:gd name="T9" fmla="*/ 50 h 50"/>
                <a:gd name="T10" fmla="*/ 8 w 37"/>
                <a:gd name="T11" fmla="*/ 50 h 50"/>
                <a:gd name="T12" fmla="*/ 0 w 37"/>
                <a:gd name="T13" fmla="*/ 39 h 50"/>
                <a:gd name="T14" fmla="*/ 0 w 37"/>
                <a:gd name="T15" fmla="*/ 14 h 50"/>
                <a:gd name="T16" fmla="*/ 14 w 37"/>
                <a:gd name="T17" fmla="*/ 2 h 50"/>
                <a:gd name="T18" fmla="*/ 18 w 37"/>
                <a:gd name="T19" fmla="*/ 0 h 50"/>
                <a:gd name="T20" fmla="*/ 18 w 37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50">
                  <a:moveTo>
                    <a:pt x="18" y="0"/>
                  </a:moveTo>
                  <a:lnTo>
                    <a:pt x="37" y="15"/>
                  </a:lnTo>
                  <a:lnTo>
                    <a:pt x="37" y="39"/>
                  </a:lnTo>
                  <a:lnTo>
                    <a:pt x="33" y="48"/>
                  </a:lnTo>
                  <a:lnTo>
                    <a:pt x="18" y="50"/>
                  </a:lnTo>
                  <a:lnTo>
                    <a:pt x="8" y="50"/>
                  </a:lnTo>
                  <a:lnTo>
                    <a:pt x="0" y="39"/>
                  </a:lnTo>
                  <a:lnTo>
                    <a:pt x="0" y="14"/>
                  </a:lnTo>
                  <a:lnTo>
                    <a:pt x="14" y="2"/>
                  </a:lnTo>
                  <a:lnTo>
                    <a:pt x="18" y="0"/>
                  </a:lnTo>
                  <a:lnTo>
                    <a:pt x="18" y="0"/>
                  </a:lnTo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87" name="Freeform 6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3429000" y="2898776"/>
              <a:ext cx="26988" cy="34925"/>
            </a:xfrm>
            <a:custGeom>
              <a:avLst/>
              <a:gdLst>
                <a:gd name="T0" fmla="*/ 29 w 29"/>
                <a:gd name="T1" fmla="*/ 43 h 43"/>
                <a:gd name="T2" fmla="*/ 15 w 29"/>
                <a:gd name="T3" fmla="*/ 29 h 43"/>
                <a:gd name="T4" fmla="*/ 0 w 29"/>
                <a:gd name="T5" fmla="*/ 14 h 43"/>
                <a:gd name="T6" fmla="*/ 15 w 29"/>
                <a:gd name="T7" fmla="*/ 14 h 43"/>
                <a:gd name="T8" fmla="*/ 29 w 29"/>
                <a:gd name="T9" fmla="*/ 0 h 43"/>
                <a:gd name="T10" fmla="*/ 29 w 29"/>
                <a:gd name="T11" fmla="*/ 14 h 43"/>
                <a:gd name="T12" fmla="*/ 29 w 29"/>
                <a:gd name="T13" fmla="*/ 29 h 43"/>
                <a:gd name="T14" fmla="*/ 29 w 29"/>
                <a:gd name="T15" fmla="*/ 43 h 43"/>
                <a:gd name="T16" fmla="*/ 29 w 29"/>
                <a:gd name="T17" fmla="*/ 43 h 43"/>
                <a:gd name="T18" fmla="*/ 29 w 29"/>
                <a:gd name="T1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3">
                  <a:moveTo>
                    <a:pt x="29" y="43"/>
                  </a:moveTo>
                  <a:lnTo>
                    <a:pt x="15" y="29"/>
                  </a:lnTo>
                  <a:lnTo>
                    <a:pt x="0" y="14"/>
                  </a:lnTo>
                  <a:lnTo>
                    <a:pt x="15" y="14"/>
                  </a:lnTo>
                  <a:lnTo>
                    <a:pt x="29" y="0"/>
                  </a:lnTo>
                  <a:lnTo>
                    <a:pt x="29" y="14"/>
                  </a:lnTo>
                  <a:lnTo>
                    <a:pt x="29" y="29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3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88" name="Freeform 6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3625850" y="2757488"/>
              <a:ext cx="42863" cy="92075"/>
            </a:xfrm>
            <a:custGeom>
              <a:avLst/>
              <a:gdLst>
                <a:gd name="T0" fmla="*/ 0 w 45"/>
                <a:gd name="T1" fmla="*/ 114 h 114"/>
                <a:gd name="T2" fmla="*/ 16 w 45"/>
                <a:gd name="T3" fmla="*/ 101 h 114"/>
                <a:gd name="T4" fmla="*/ 16 w 45"/>
                <a:gd name="T5" fmla="*/ 85 h 114"/>
                <a:gd name="T6" fmla="*/ 0 w 45"/>
                <a:gd name="T7" fmla="*/ 72 h 114"/>
                <a:gd name="T8" fmla="*/ 0 w 45"/>
                <a:gd name="T9" fmla="*/ 58 h 114"/>
                <a:gd name="T10" fmla="*/ 30 w 45"/>
                <a:gd name="T11" fmla="*/ 58 h 114"/>
                <a:gd name="T12" fmla="*/ 30 w 45"/>
                <a:gd name="T13" fmla="*/ 42 h 114"/>
                <a:gd name="T14" fmla="*/ 45 w 45"/>
                <a:gd name="T15" fmla="*/ 0 h 114"/>
                <a:gd name="T16" fmla="*/ 45 w 45"/>
                <a:gd name="T17" fmla="*/ 27 h 114"/>
                <a:gd name="T18" fmla="*/ 45 w 45"/>
                <a:gd name="T19" fmla="*/ 42 h 114"/>
                <a:gd name="T20" fmla="*/ 45 w 45"/>
                <a:gd name="T21" fmla="*/ 58 h 114"/>
                <a:gd name="T22" fmla="*/ 45 w 45"/>
                <a:gd name="T23" fmla="*/ 72 h 114"/>
                <a:gd name="T24" fmla="*/ 30 w 45"/>
                <a:gd name="T25" fmla="*/ 85 h 114"/>
                <a:gd name="T26" fmla="*/ 30 w 45"/>
                <a:gd name="T27" fmla="*/ 101 h 114"/>
                <a:gd name="T28" fmla="*/ 0 w 45"/>
                <a:gd name="T29" fmla="*/ 114 h 114"/>
                <a:gd name="T30" fmla="*/ 0 w 45"/>
                <a:gd name="T31" fmla="*/ 114 h 114"/>
                <a:gd name="T32" fmla="*/ 0 w 45"/>
                <a:gd name="T3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114">
                  <a:moveTo>
                    <a:pt x="0" y="114"/>
                  </a:moveTo>
                  <a:lnTo>
                    <a:pt x="16" y="101"/>
                  </a:lnTo>
                  <a:lnTo>
                    <a:pt x="16" y="85"/>
                  </a:lnTo>
                  <a:lnTo>
                    <a:pt x="0" y="72"/>
                  </a:lnTo>
                  <a:lnTo>
                    <a:pt x="0" y="58"/>
                  </a:lnTo>
                  <a:lnTo>
                    <a:pt x="30" y="58"/>
                  </a:lnTo>
                  <a:lnTo>
                    <a:pt x="30" y="42"/>
                  </a:lnTo>
                  <a:lnTo>
                    <a:pt x="45" y="0"/>
                  </a:lnTo>
                  <a:lnTo>
                    <a:pt x="45" y="27"/>
                  </a:lnTo>
                  <a:lnTo>
                    <a:pt x="45" y="42"/>
                  </a:lnTo>
                  <a:lnTo>
                    <a:pt x="45" y="58"/>
                  </a:lnTo>
                  <a:lnTo>
                    <a:pt x="45" y="72"/>
                  </a:lnTo>
                  <a:lnTo>
                    <a:pt x="30" y="85"/>
                  </a:lnTo>
                  <a:lnTo>
                    <a:pt x="30" y="101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89" name="Freeform 69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3074988" y="2909888"/>
              <a:ext cx="98425" cy="79375"/>
            </a:xfrm>
            <a:custGeom>
              <a:avLst/>
              <a:gdLst>
                <a:gd name="T0" fmla="*/ 0 w 101"/>
                <a:gd name="T1" fmla="*/ 101 h 101"/>
                <a:gd name="T2" fmla="*/ 16 w 101"/>
                <a:gd name="T3" fmla="*/ 72 h 101"/>
                <a:gd name="T4" fmla="*/ 29 w 101"/>
                <a:gd name="T5" fmla="*/ 58 h 101"/>
                <a:gd name="T6" fmla="*/ 45 w 101"/>
                <a:gd name="T7" fmla="*/ 72 h 101"/>
                <a:gd name="T8" fmla="*/ 45 w 101"/>
                <a:gd name="T9" fmla="*/ 87 h 101"/>
                <a:gd name="T10" fmla="*/ 58 w 101"/>
                <a:gd name="T11" fmla="*/ 72 h 101"/>
                <a:gd name="T12" fmla="*/ 58 w 101"/>
                <a:gd name="T13" fmla="*/ 58 h 101"/>
                <a:gd name="T14" fmla="*/ 74 w 101"/>
                <a:gd name="T15" fmla="*/ 43 h 101"/>
                <a:gd name="T16" fmla="*/ 87 w 101"/>
                <a:gd name="T17" fmla="*/ 43 h 101"/>
                <a:gd name="T18" fmla="*/ 87 w 101"/>
                <a:gd name="T19" fmla="*/ 29 h 101"/>
                <a:gd name="T20" fmla="*/ 101 w 101"/>
                <a:gd name="T21" fmla="*/ 15 h 101"/>
                <a:gd name="T22" fmla="*/ 101 w 101"/>
                <a:gd name="T23" fmla="*/ 0 h 101"/>
                <a:gd name="T24" fmla="*/ 87 w 101"/>
                <a:gd name="T25" fmla="*/ 15 h 101"/>
                <a:gd name="T26" fmla="*/ 74 w 101"/>
                <a:gd name="T27" fmla="*/ 15 h 101"/>
                <a:gd name="T28" fmla="*/ 45 w 101"/>
                <a:gd name="T29" fmla="*/ 15 h 101"/>
                <a:gd name="T30" fmla="*/ 45 w 101"/>
                <a:gd name="T31" fmla="*/ 43 h 101"/>
                <a:gd name="T32" fmla="*/ 29 w 101"/>
                <a:gd name="T33" fmla="*/ 29 h 101"/>
                <a:gd name="T34" fmla="*/ 29 w 101"/>
                <a:gd name="T35" fmla="*/ 15 h 101"/>
                <a:gd name="T36" fmla="*/ 16 w 101"/>
                <a:gd name="T37" fmla="*/ 29 h 101"/>
                <a:gd name="T38" fmla="*/ 16 w 101"/>
                <a:gd name="T39" fmla="*/ 43 h 101"/>
                <a:gd name="T40" fmla="*/ 0 w 101"/>
                <a:gd name="T41" fmla="*/ 72 h 101"/>
                <a:gd name="T42" fmla="*/ 0 w 101"/>
                <a:gd name="T43" fmla="*/ 87 h 101"/>
                <a:gd name="T44" fmla="*/ 0 w 101"/>
                <a:gd name="T45" fmla="*/ 101 h 101"/>
                <a:gd name="T46" fmla="*/ 0 w 101"/>
                <a:gd name="T47" fmla="*/ 101 h 101"/>
                <a:gd name="T48" fmla="*/ 0 w 101"/>
                <a:gd name="T4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1" h="101">
                  <a:moveTo>
                    <a:pt x="0" y="101"/>
                  </a:moveTo>
                  <a:lnTo>
                    <a:pt x="16" y="72"/>
                  </a:lnTo>
                  <a:lnTo>
                    <a:pt x="29" y="58"/>
                  </a:lnTo>
                  <a:lnTo>
                    <a:pt x="45" y="72"/>
                  </a:lnTo>
                  <a:lnTo>
                    <a:pt x="45" y="87"/>
                  </a:lnTo>
                  <a:lnTo>
                    <a:pt x="58" y="72"/>
                  </a:lnTo>
                  <a:lnTo>
                    <a:pt x="58" y="58"/>
                  </a:lnTo>
                  <a:lnTo>
                    <a:pt x="74" y="43"/>
                  </a:lnTo>
                  <a:lnTo>
                    <a:pt x="87" y="43"/>
                  </a:lnTo>
                  <a:lnTo>
                    <a:pt x="87" y="29"/>
                  </a:lnTo>
                  <a:lnTo>
                    <a:pt x="101" y="15"/>
                  </a:lnTo>
                  <a:lnTo>
                    <a:pt x="101" y="0"/>
                  </a:lnTo>
                  <a:lnTo>
                    <a:pt x="87" y="15"/>
                  </a:lnTo>
                  <a:lnTo>
                    <a:pt x="74" y="15"/>
                  </a:lnTo>
                  <a:lnTo>
                    <a:pt x="45" y="15"/>
                  </a:lnTo>
                  <a:lnTo>
                    <a:pt x="45" y="43"/>
                  </a:lnTo>
                  <a:lnTo>
                    <a:pt x="29" y="29"/>
                  </a:lnTo>
                  <a:lnTo>
                    <a:pt x="29" y="15"/>
                  </a:lnTo>
                  <a:lnTo>
                    <a:pt x="16" y="29"/>
                  </a:lnTo>
                  <a:lnTo>
                    <a:pt x="16" y="43"/>
                  </a:lnTo>
                  <a:lnTo>
                    <a:pt x="0" y="72"/>
                  </a:lnTo>
                  <a:lnTo>
                    <a:pt x="0" y="87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90" name="Freeform 7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3086100" y="3016251"/>
              <a:ext cx="58738" cy="71438"/>
            </a:xfrm>
            <a:custGeom>
              <a:avLst/>
              <a:gdLst>
                <a:gd name="T0" fmla="*/ 44 w 58"/>
                <a:gd name="T1" fmla="*/ 56 h 85"/>
                <a:gd name="T2" fmla="*/ 44 w 58"/>
                <a:gd name="T3" fmla="*/ 44 h 85"/>
                <a:gd name="T4" fmla="*/ 44 w 58"/>
                <a:gd name="T5" fmla="*/ 29 h 85"/>
                <a:gd name="T6" fmla="*/ 58 w 58"/>
                <a:gd name="T7" fmla="*/ 15 h 85"/>
                <a:gd name="T8" fmla="*/ 58 w 58"/>
                <a:gd name="T9" fmla="*/ 0 h 85"/>
                <a:gd name="T10" fmla="*/ 44 w 58"/>
                <a:gd name="T11" fmla="*/ 15 h 85"/>
                <a:gd name="T12" fmla="*/ 29 w 58"/>
                <a:gd name="T13" fmla="*/ 29 h 85"/>
                <a:gd name="T14" fmla="*/ 29 w 58"/>
                <a:gd name="T15" fmla="*/ 15 h 85"/>
                <a:gd name="T16" fmla="*/ 29 w 58"/>
                <a:gd name="T17" fmla="*/ 0 h 85"/>
                <a:gd name="T18" fmla="*/ 0 w 58"/>
                <a:gd name="T19" fmla="*/ 15 h 85"/>
                <a:gd name="T20" fmla="*/ 0 w 58"/>
                <a:gd name="T21" fmla="*/ 29 h 85"/>
                <a:gd name="T22" fmla="*/ 0 w 58"/>
                <a:gd name="T23" fmla="*/ 44 h 85"/>
                <a:gd name="T24" fmla="*/ 29 w 58"/>
                <a:gd name="T25" fmla="*/ 29 h 85"/>
                <a:gd name="T26" fmla="*/ 15 w 58"/>
                <a:gd name="T27" fmla="*/ 56 h 85"/>
                <a:gd name="T28" fmla="*/ 29 w 58"/>
                <a:gd name="T29" fmla="*/ 72 h 85"/>
                <a:gd name="T30" fmla="*/ 29 w 58"/>
                <a:gd name="T31" fmla="*/ 85 h 85"/>
                <a:gd name="T32" fmla="*/ 44 w 58"/>
                <a:gd name="T33" fmla="*/ 56 h 85"/>
                <a:gd name="T34" fmla="*/ 44 w 58"/>
                <a:gd name="T35" fmla="*/ 56 h 85"/>
                <a:gd name="T36" fmla="*/ 44 w 58"/>
                <a:gd name="T37" fmla="*/ 5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" h="85">
                  <a:moveTo>
                    <a:pt x="44" y="56"/>
                  </a:moveTo>
                  <a:lnTo>
                    <a:pt x="44" y="44"/>
                  </a:lnTo>
                  <a:lnTo>
                    <a:pt x="44" y="29"/>
                  </a:lnTo>
                  <a:lnTo>
                    <a:pt x="58" y="15"/>
                  </a:lnTo>
                  <a:lnTo>
                    <a:pt x="58" y="0"/>
                  </a:lnTo>
                  <a:lnTo>
                    <a:pt x="44" y="15"/>
                  </a:lnTo>
                  <a:lnTo>
                    <a:pt x="29" y="29"/>
                  </a:lnTo>
                  <a:lnTo>
                    <a:pt x="29" y="15"/>
                  </a:lnTo>
                  <a:lnTo>
                    <a:pt x="29" y="0"/>
                  </a:lnTo>
                  <a:lnTo>
                    <a:pt x="0" y="15"/>
                  </a:lnTo>
                  <a:lnTo>
                    <a:pt x="0" y="29"/>
                  </a:lnTo>
                  <a:lnTo>
                    <a:pt x="0" y="44"/>
                  </a:lnTo>
                  <a:lnTo>
                    <a:pt x="29" y="29"/>
                  </a:lnTo>
                  <a:lnTo>
                    <a:pt x="15" y="56"/>
                  </a:lnTo>
                  <a:lnTo>
                    <a:pt x="29" y="72"/>
                  </a:lnTo>
                  <a:lnTo>
                    <a:pt x="29" y="85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91" name="Freeform 7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3074988" y="3143251"/>
              <a:ext cx="26988" cy="38100"/>
            </a:xfrm>
            <a:custGeom>
              <a:avLst/>
              <a:gdLst>
                <a:gd name="T0" fmla="*/ 14 w 29"/>
                <a:gd name="T1" fmla="*/ 45 h 45"/>
                <a:gd name="T2" fmla="*/ 14 w 29"/>
                <a:gd name="T3" fmla="*/ 29 h 45"/>
                <a:gd name="T4" fmla="*/ 0 w 29"/>
                <a:gd name="T5" fmla="*/ 29 h 45"/>
                <a:gd name="T6" fmla="*/ 14 w 29"/>
                <a:gd name="T7" fmla="*/ 15 h 45"/>
                <a:gd name="T8" fmla="*/ 14 w 29"/>
                <a:gd name="T9" fmla="*/ 0 h 45"/>
                <a:gd name="T10" fmla="*/ 0 w 29"/>
                <a:gd name="T11" fmla="*/ 0 h 45"/>
                <a:gd name="T12" fmla="*/ 29 w 29"/>
                <a:gd name="T13" fmla="*/ 15 h 45"/>
                <a:gd name="T14" fmla="*/ 29 w 29"/>
                <a:gd name="T15" fmla="*/ 29 h 45"/>
                <a:gd name="T16" fmla="*/ 14 w 29"/>
                <a:gd name="T17" fmla="*/ 29 h 45"/>
                <a:gd name="T18" fmla="*/ 14 w 29"/>
                <a:gd name="T19" fmla="*/ 45 h 45"/>
                <a:gd name="T20" fmla="*/ 14 w 29"/>
                <a:gd name="T21" fmla="*/ 45 h 45"/>
                <a:gd name="T22" fmla="*/ 14 w 29"/>
                <a:gd name="T2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45">
                  <a:moveTo>
                    <a:pt x="14" y="45"/>
                  </a:moveTo>
                  <a:lnTo>
                    <a:pt x="14" y="29"/>
                  </a:lnTo>
                  <a:lnTo>
                    <a:pt x="0" y="29"/>
                  </a:lnTo>
                  <a:lnTo>
                    <a:pt x="14" y="15"/>
                  </a:lnTo>
                  <a:lnTo>
                    <a:pt x="14" y="0"/>
                  </a:lnTo>
                  <a:lnTo>
                    <a:pt x="0" y="0"/>
                  </a:lnTo>
                  <a:lnTo>
                    <a:pt x="29" y="15"/>
                  </a:lnTo>
                  <a:lnTo>
                    <a:pt x="29" y="29"/>
                  </a:lnTo>
                  <a:lnTo>
                    <a:pt x="14" y="29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92" name="Freeform 7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2709863" y="4002088"/>
              <a:ext cx="1344613" cy="1084263"/>
            </a:xfrm>
            <a:custGeom>
              <a:avLst/>
              <a:gdLst>
                <a:gd name="T0" fmla="*/ 857 w 1018"/>
                <a:gd name="T1" fmla="*/ 779 h 889"/>
                <a:gd name="T2" fmla="*/ 845 w 1018"/>
                <a:gd name="T3" fmla="*/ 713 h 889"/>
                <a:gd name="T4" fmla="*/ 814 w 1018"/>
                <a:gd name="T5" fmla="*/ 664 h 889"/>
                <a:gd name="T6" fmla="*/ 878 w 1018"/>
                <a:gd name="T7" fmla="*/ 634 h 889"/>
                <a:gd name="T8" fmla="*/ 867 w 1018"/>
                <a:gd name="T9" fmla="*/ 588 h 889"/>
                <a:gd name="T10" fmla="*/ 857 w 1018"/>
                <a:gd name="T11" fmla="*/ 540 h 889"/>
                <a:gd name="T12" fmla="*/ 837 w 1018"/>
                <a:gd name="T13" fmla="*/ 518 h 889"/>
                <a:gd name="T14" fmla="*/ 835 w 1018"/>
                <a:gd name="T15" fmla="*/ 491 h 889"/>
                <a:gd name="T16" fmla="*/ 898 w 1018"/>
                <a:gd name="T17" fmla="*/ 433 h 889"/>
                <a:gd name="T18" fmla="*/ 953 w 1018"/>
                <a:gd name="T19" fmla="*/ 404 h 889"/>
                <a:gd name="T20" fmla="*/ 975 w 1018"/>
                <a:gd name="T21" fmla="*/ 337 h 889"/>
                <a:gd name="T22" fmla="*/ 985 w 1018"/>
                <a:gd name="T23" fmla="*/ 278 h 889"/>
                <a:gd name="T24" fmla="*/ 898 w 1018"/>
                <a:gd name="T25" fmla="*/ 212 h 889"/>
                <a:gd name="T26" fmla="*/ 835 w 1018"/>
                <a:gd name="T27" fmla="*/ 202 h 889"/>
                <a:gd name="T28" fmla="*/ 793 w 1018"/>
                <a:gd name="T29" fmla="*/ 154 h 889"/>
                <a:gd name="T30" fmla="*/ 748 w 1018"/>
                <a:gd name="T31" fmla="*/ 144 h 889"/>
                <a:gd name="T32" fmla="*/ 728 w 1018"/>
                <a:gd name="T33" fmla="*/ 96 h 889"/>
                <a:gd name="T34" fmla="*/ 684 w 1018"/>
                <a:gd name="T35" fmla="*/ 57 h 889"/>
                <a:gd name="T36" fmla="*/ 652 w 1018"/>
                <a:gd name="T37" fmla="*/ 19 h 889"/>
                <a:gd name="T38" fmla="*/ 599 w 1018"/>
                <a:gd name="T39" fmla="*/ 0 h 889"/>
                <a:gd name="T40" fmla="*/ 567 w 1018"/>
                <a:gd name="T41" fmla="*/ 48 h 889"/>
                <a:gd name="T42" fmla="*/ 524 w 1018"/>
                <a:gd name="T43" fmla="*/ 87 h 889"/>
                <a:gd name="T44" fmla="*/ 449 w 1018"/>
                <a:gd name="T45" fmla="*/ 116 h 889"/>
                <a:gd name="T46" fmla="*/ 428 w 1018"/>
                <a:gd name="T47" fmla="*/ 134 h 889"/>
                <a:gd name="T48" fmla="*/ 342 w 1018"/>
                <a:gd name="T49" fmla="*/ 116 h 889"/>
                <a:gd name="T50" fmla="*/ 321 w 1018"/>
                <a:gd name="T51" fmla="*/ 68 h 889"/>
                <a:gd name="T52" fmla="*/ 278 w 1018"/>
                <a:gd name="T53" fmla="*/ 96 h 889"/>
                <a:gd name="T54" fmla="*/ 290 w 1018"/>
                <a:gd name="T55" fmla="*/ 164 h 889"/>
                <a:gd name="T56" fmla="*/ 246 w 1018"/>
                <a:gd name="T57" fmla="*/ 154 h 889"/>
                <a:gd name="T58" fmla="*/ 172 w 1018"/>
                <a:gd name="T59" fmla="*/ 144 h 889"/>
                <a:gd name="T60" fmla="*/ 149 w 1018"/>
                <a:gd name="T61" fmla="*/ 116 h 889"/>
                <a:gd name="T62" fmla="*/ 75 w 1018"/>
                <a:gd name="T63" fmla="*/ 116 h 889"/>
                <a:gd name="T64" fmla="*/ 10 w 1018"/>
                <a:gd name="T65" fmla="*/ 116 h 889"/>
                <a:gd name="T66" fmla="*/ 42 w 1018"/>
                <a:gd name="T67" fmla="*/ 144 h 889"/>
                <a:gd name="T68" fmla="*/ 10 w 1018"/>
                <a:gd name="T69" fmla="*/ 164 h 889"/>
                <a:gd name="T70" fmla="*/ 63 w 1018"/>
                <a:gd name="T71" fmla="*/ 183 h 889"/>
                <a:gd name="T72" fmla="*/ 106 w 1018"/>
                <a:gd name="T73" fmla="*/ 231 h 889"/>
                <a:gd name="T74" fmla="*/ 160 w 1018"/>
                <a:gd name="T75" fmla="*/ 260 h 889"/>
                <a:gd name="T76" fmla="*/ 172 w 1018"/>
                <a:gd name="T77" fmla="*/ 298 h 889"/>
                <a:gd name="T78" fmla="*/ 181 w 1018"/>
                <a:gd name="T79" fmla="*/ 356 h 889"/>
                <a:gd name="T80" fmla="*/ 224 w 1018"/>
                <a:gd name="T81" fmla="*/ 404 h 889"/>
                <a:gd name="T82" fmla="*/ 213 w 1018"/>
                <a:gd name="T83" fmla="*/ 461 h 889"/>
                <a:gd name="T84" fmla="*/ 224 w 1018"/>
                <a:gd name="T85" fmla="*/ 510 h 889"/>
                <a:gd name="T86" fmla="*/ 213 w 1018"/>
                <a:gd name="T87" fmla="*/ 520 h 889"/>
                <a:gd name="T88" fmla="*/ 181 w 1018"/>
                <a:gd name="T89" fmla="*/ 520 h 889"/>
                <a:gd name="T90" fmla="*/ 172 w 1018"/>
                <a:gd name="T91" fmla="*/ 577 h 889"/>
                <a:gd name="T92" fmla="*/ 128 w 1018"/>
                <a:gd name="T93" fmla="*/ 616 h 889"/>
                <a:gd name="T94" fmla="*/ 63 w 1018"/>
                <a:gd name="T95" fmla="*/ 693 h 889"/>
                <a:gd name="T96" fmla="*/ 106 w 1018"/>
                <a:gd name="T97" fmla="*/ 731 h 889"/>
                <a:gd name="T98" fmla="*/ 181 w 1018"/>
                <a:gd name="T99" fmla="*/ 779 h 889"/>
                <a:gd name="T100" fmla="*/ 270 w 1018"/>
                <a:gd name="T101" fmla="*/ 821 h 889"/>
                <a:gd name="T102" fmla="*/ 333 w 1018"/>
                <a:gd name="T103" fmla="*/ 857 h 889"/>
                <a:gd name="T104" fmla="*/ 406 w 1018"/>
                <a:gd name="T105" fmla="*/ 876 h 889"/>
                <a:gd name="T106" fmla="*/ 469 w 1018"/>
                <a:gd name="T107" fmla="*/ 880 h 889"/>
                <a:gd name="T108" fmla="*/ 471 w 1018"/>
                <a:gd name="T109" fmla="*/ 827 h 889"/>
                <a:gd name="T110" fmla="*/ 524 w 1018"/>
                <a:gd name="T111" fmla="*/ 798 h 889"/>
                <a:gd name="T112" fmla="*/ 589 w 1018"/>
                <a:gd name="T113" fmla="*/ 798 h 889"/>
                <a:gd name="T114" fmla="*/ 652 w 1018"/>
                <a:gd name="T115" fmla="*/ 798 h 889"/>
                <a:gd name="T116" fmla="*/ 684 w 1018"/>
                <a:gd name="T117" fmla="*/ 827 h 889"/>
                <a:gd name="T118" fmla="*/ 728 w 1018"/>
                <a:gd name="T119" fmla="*/ 867 h 889"/>
                <a:gd name="T120" fmla="*/ 793 w 1018"/>
                <a:gd name="T121" fmla="*/ 857 h 889"/>
                <a:gd name="T122" fmla="*/ 823 w 1018"/>
                <a:gd name="T123" fmla="*/ 827 h 889"/>
                <a:gd name="T124" fmla="*/ 867 w 1018"/>
                <a:gd name="T125" fmla="*/ 819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18" h="889">
                  <a:moveTo>
                    <a:pt x="867" y="819"/>
                  </a:moveTo>
                  <a:lnTo>
                    <a:pt x="878" y="809"/>
                  </a:lnTo>
                  <a:lnTo>
                    <a:pt x="878" y="798"/>
                  </a:lnTo>
                  <a:lnTo>
                    <a:pt x="888" y="789"/>
                  </a:lnTo>
                  <a:lnTo>
                    <a:pt x="878" y="779"/>
                  </a:lnTo>
                  <a:lnTo>
                    <a:pt x="857" y="779"/>
                  </a:lnTo>
                  <a:lnTo>
                    <a:pt x="845" y="779"/>
                  </a:lnTo>
                  <a:lnTo>
                    <a:pt x="835" y="760"/>
                  </a:lnTo>
                  <a:lnTo>
                    <a:pt x="835" y="752"/>
                  </a:lnTo>
                  <a:lnTo>
                    <a:pt x="835" y="731"/>
                  </a:lnTo>
                  <a:lnTo>
                    <a:pt x="835" y="721"/>
                  </a:lnTo>
                  <a:lnTo>
                    <a:pt x="845" y="713"/>
                  </a:lnTo>
                  <a:lnTo>
                    <a:pt x="845" y="702"/>
                  </a:lnTo>
                  <a:lnTo>
                    <a:pt x="845" y="693"/>
                  </a:lnTo>
                  <a:lnTo>
                    <a:pt x="835" y="683"/>
                  </a:lnTo>
                  <a:lnTo>
                    <a:pt x="823" y="683"/>
                  </a:lnTo>
                  <a:lnTo>
                    <a:pt x="814" y="674"/>
                  </a:lnTo>
                  <a:lnTo>
                    <a:pt x="814" y="664"/>
                  </a:lnTo>
                  <a:lnTo>
                    <a:pt x="823" y="664"/>
                  </a:lnTo>
                  <a:lnTo>
                    <a:pt x="835" y="664"/>
                  </a:lnTo>
                  <a:lnTo>
                    <a:pt x="845" y="664"/>
                  </a:lnTo>
                  <a:lnTo>
                    <a:pt x="857" y="654"/>
                  </a:lnTo>
                  <a:lnTo>
                    <a:pt x="867" y="645"/>
                  </a:lnTo>
                  <a:lnTo>
                    <a:pt x="878" y="634"/>
                  </a:lnTo>
                  <a:lnTo>
                    <a:pt x="867" y="626"/>
                  </a:lnTo>
                  <a:lnTo>
                    <a:pt x="867" y="616"/>
                  </a:lnTo>
                  <a:lnTo>
                    <a:pt x="857" y="606"/>
                  </a:lnTo>
                  <a:lnTo>
                    <a:pt x="857" y="597"/>
                  </a:lnTo>
                  <a:lnTo>
                    <a:pt x="867" y="597"/>
                  </a:lnTo>
                  <a:lnTo>
                    <a:pt x="867" y="588"/>
                  </a:lnTo>
                  <a:lnTo>
                    <a:pt x="867" y="577"/>
                  </a:lnTo>
                  <a:lnTo>
                    <a:pt x="857" y="568"/>
                  </a:lnTo>
                  <a:lnTo>
                    <a:pt x="857" y="558"/>
                  </a:lnTo>
                  <a:lnTo>
                    <a:pt x="867" y="558"/>
                  </a:lnTo>
                  <a:lnTo>
                    <a:pt x="857" y="548"/>
                  </a:lnTo>
                  <a:lnTo>
                    <a:pt x="857" y="540"/>
                  </a:lnTo>
                  <a:lnTo>
                    <a:pt x="867" y="540"/>
                  </a:lnTo>
                  <a:lnTo>
                    <a:pt x="878" y="540"/>
                  </a:lnTo>
                  <a:lnTo>
                    <a:pt x="878" y="529"/>
                  </a:lnTo>
                  <a:lnTo>
                    <a:pt x="867" y="510"/>
                  </a:lnTo>
                  <a:lnTo>
                    <a:pt x="852" y="510"/>
                  </a:lnTo>
                  <a:lnTo>
                    <a:pt x="837" y="518"/>
                  </a:lnTo>
                  <a:lnTo>
                    <a:pt x="835" y="540"/>
                  </a:lnTo>
                  <a:lnTo>
                    <a:pt x="827" y="537"/>
                  </a:lnTo>
                  <a:lnTo>
                    <a:pt x="814" y="548"/>
                  </a:lnTo>
                  <a:lnTo>
                    <a:pt x="803" y="529"/>
                  </a:lnTo>
                  <a:lnTo>
                    <a:pt x="814" y="510"/>
                  </a:lnTo>
                  <a:lnTo>
                    <a:pt x="835" y="491"/>
                  </a:lnTo>
                  <a:lnTo>
                    <a:pt x="835" y="481"/>
                  </a:lnTo>
                  <a:lnTo>
                    <a:pt x="845" y="471"/>
                  </a:lnTo>
                  <a:lnTo>
                    <a:pt x="867" y="471"/>
                  </a:lnTo>
                  <a:lnTo>
                    <a:pt x="888" y="461"/>
                  </a:lnTo>
                  <a:lnTo>
                    <a:pt x="898" y="443"/>
                  </a:lnTo>
                  <a:lnTo>
                    <a:pt x="898" y="433"/>
                  </a:lnTo>
                  <a:lnTo>
                    <a:pt x="910" y="424"/>
                  </a:lnTo>
                  <a:lnTo>
                    <a:pt x="920" y="433"/>
                  </a:lnTo>
                  <a:lnTo>
                    <a:pt x="932" y="443"/>
                  </a:lnTo>
                  <a:lnTo>
                    <a:pt x="942" y="424"/>
                  </a:lnTo>
                  <a:lnTo>
                    <a:pt x="953" y="433"/>
                  </a:lnTo>
                  <a:lnTo>
                    <a:pt x="953" y="404"/>
                  </a:lnTo>
                  <a:lnTo>
                    <a:pt x="963" y="395"/>
                  </a:lnTo>
                  <a:lnTo>
                    <a:pt x="963" y="385"/>
                  </a:lnTo>
                  <a:lnTo>
                    <a:pt x="963" y="367"/>
                  </a:lnTo>
                  <a:lnTo>
                    <a:pt x="963" y="356"/>
                  </a:lnTo>
                  <a:lnTo>
                    <a:pt x="975" y="346"/>
                  </a:lnTo>
                  <a:lnTo>
                    <a:pt x="975" y="337"/>
                  </a:lnTo>
                  <a:lnTo>
                    <a:pt x="985" y="317"/>
                  </a:lnTo>
                  <a:lnTo>
                    <a:pt x="996" y="307"/>
                  </a:lnTo>
                  <a:lnTo>
                    <a:pt x="1018" y="288"/>
                  </a:lnTo>
                  <a:lnTo>
                    <a:pt x="1006" y="278"/>
                  </a:lnTo>
                  <a:lnTo>
                    <a:pt x="996" y="278"/>
                  </a:lnTo>
                  <a:lnTo>
                    <a:pt x="985" y="278"/>
                  </a:lnTo>
                  <a:lnTo>
                    <a:pt x="975" y="269"/>
                  </a:lnTo>
                  <a:lnTo>
                    <a:pt x="953" y="269"/>
                  </a:lnTo>
                  <a:lnTo>
                    <a:pt x="932" y="260"/>
                  </a:lnTo>
                  <a:lnTo>
                    <a:pt x="920" y="251"/>
                  </a:lnTo>
                  <a:lnTo>
                    <a:pt x="910" y="231"/>
                  </a:lnTo>
                  <a:lnTo>
                    <a:pt x="898" y="212"/>
                  </a:lnTo>
                  <a:lnTo>
                    <a:pt x="878" y="212"/>
                  </a:lnTo>
                  <a:lnTo>
                    <a:pt x="867" y="202"/>
                  </a:lnTo>
                  <a:lnTo>
                    <a:pt x="857" y="202"/>
                  </a:lnTo>
                  <a:lnTo>
                    <a:pt x="845" y="202"/>
                  </a:lnTo>
                  <a:lnTo>
                    <a:pt x="835" y="212"/>
                  </a:lnTo>
                  <a:lnTo>
                    <a:pt x="835" y="202"/>
                  </a:lnTo>
                  <a:lnTo>
                    <a:pt x="823" y="192"/>
                  </a:lnTo>
                  <a:lnTo>
                    <a:pt x="814" y="183"/>
                  </a:lnTo>
                  <a:lnTo>
                    <a:pt x="803" y="183"/>
                  </a:lnTo>
                  <a:lnTo>
                    <a:pt x="803" y="173"/>
                  </a:lnTo>
                  <a:lnTo>
                    <a:pt x="793" y="164"/>
                  </a:lnTo>
                  <a:lnTo>
                    <a:pt x="793" y="154"/>
                  </a:lnTo>
                  <a:lnTo>
                    <a:pt x="782" y="144"/>
                  </a:lnTo>
                  <a:lnTo>
                    <a:pt x="782" y="134"/>
                  </a:lnTo>
                  <a:lnTo>
                    <a:pt x="770" y="134"/>
                  </a:lnTo>
                  <a:lnTo>
                    <a:pt x="770" y="144"/>
                  </a:lnTo>
                  <a:lnTo>
                    <a:pt x="760" y="144"/>
                  </a:lnTo>
                  <a:lnTo>
                    <a:pt x="748" y="144"/>
                  </a:lnTo>
                  <a:lnTo>
                    <a:pt x="739" y="134"/>
                  </a:lnTo>
                  <a:lnTo>
                    <a:pt x="748" y="125"/>
                  </a:lnTo>
                  <a:lnTo>
                    <a:pt x="748" y="116"/>
                  </a:lnTo>
                  <a:lnTo>
                    <a:pt x="748" y="96"/>
                  </a:lnTo>
                  <a:lnTo>
                    <a:pt x="739" y="96"/>
                  </a:lnTo>
                  <a:lnTo>
                    <a:pt x="728" y="96"/>
                  </a:lnTo>
                  <a:lnTo>
                    <a:pt x="717" y="96"/>
                  </a:lnTo>
                  <a:lnTo>
                    <a:pt x="707" y="76"/>
                  </a:lnTo>
                  <a:lnTo>
                    <a:pt x="707" y="68"/>
                  </a:lnTo>
                  <a:lnTo>
                    <a:pt x="695" y="68"/>
                  </a:lnTo>
                  <a:lnTo>
                    <a:pt x="684" y="68"/>
                  </a:lnTo>
                  <a:lnTo>
                    <a:pt x="684" y="57"/>
                  </a:lnTo>
                  <a:lnTo>
                    <a:pt x="684" y="48"/>
                  </a:lnTo>
                  <a:lnTo>
                    <a:pt x="673" y="48"/>
                  </a:lnTo>
                  <a:lnTo>
                    <a:pt x="664" y="48"/>
                  </a:lnTo>
                  <a:lnTo>
                    <a:pt x="664" y="39"/>
                  </a:lnTo>
                  <a:lnTo>
                    <a:pt x="652" y="29"/>
                  </a:lnTo>
                  <a:lnTo>
                    <a:pt x="652" y="19"/>
                  </a:lnTo>
                  <a:lnTo>
                    <a:pt x="652" y="9"/>
                  </a:lnTo>
                  <a:lnTo>
                    <a:pt x="652" y="0"/>
                  </a:lnTo>
                  <a:lnTo>
                    <a:pt x="630" y="0"/>
                  </a:lnTo>
                  <a:lnTo>
                    <a:pt x="621" y="0"/>
                  </a:lnTo>
                  <a:lnTo>
                    <a:pt x="609" y="0"/>
                  </a:lnTo>
                  <a:lnTo>
                    <a:pt x="599" y="0"/>
                  </a:lnTo>
                  <a:lnTo>
                    <a:pt x="589" y="0"/>
                  </a:lnTo>
                  <a:lnTo>
                    <a:pt x="578" y="9"/>
                  </a:lnTo>
                  <a:lnTo>
                    <a:pt x="578" y="19"/>
                  </a:lnTo>
                  <a:lnTo>
                    <a:pt x="578" y="29"/>
                  </a:lnTo>
                  <a:lnTo>
                    <a:pt x="567" y="39"/>
                  </a:lnTo>
                  <a:lnTo>
                    <a:pt x="567" y="48"/>
                  </a:lnTo>
                  <a:lnTo>
                    <a:pt x="567" y="68"/>
                  </a:lnTo>
                  <a:lnTo>
                    <a:pt x="567" y="76"/>
                  </a:lnTo>
                  <a:lnTo>
                    <a:pt x="557" y="76"/>
                  </a:lnTo>
                  <a:lnTo>
                    <a:pt x="546" y="76"/>
                  </a:lnTo>
                  <a:lnTo>
                    <a:pt x="535" y="87"/>
                  </a:lnTo>
                  <a:lnTo>
                    <a:pt x="524" y="87"/>
                  </a:lnTo>
                  <a:lnTo>
                    <a:pt x="503" y="96"/>
                  </a:lnTo>
                  <a:lnTo>
                    <a:pt x="482" y="105"/>
                  </a:lnTo>
                  <a:lnTo>
                    <a:pt x="460" y="105"/>
                  </a:lnTo>
                  <a:lnTo>
                    <a:pt x="439" y="105"/>
                  </a:lnTo>
                  <a:lnTo>
                    <a:pt x="439" y="116"/>
                  </a:lnTo>
                  <a:lnTo>
                    <a:pt x="449" y="116"/>
                  </a:lnTo>
                  <a:lnTo>
                    <a:pt x="471" y="125"/>
                  </a:lnTo>
                  <a:lnTo>
                    <a:pt x="482" y="134"/>
                  </a:lnTo>
                  <a:lnTo>
                    <a:pt x="471" y="134"/>
                  </a:lnTo>
                  <a:lnTo>
                    <a:pt x="471" y="144"/>
                  </a:lnTo>
                  <a:lnTo>
                    <a:pt x="449" y="134"/>
                  </a:lnTo>
                  <a:lnTo>
                    <a:pt x="428" y="134"/>
                  </a:lnTo>
                  <a:lnTo>
                    <a:pt x="406" y="134"/>
                  </a:lnTo>
                  <a:lnTo>
                    <a:pt x="406" y="125"/>
                  </a:lnTo>
                  <a:lnTo>
                    <a:pt x="385" y="125"/>
                  </a:lnTo>
                  <a:lnTo>
                    <a:pt x="364" y="116"/>
                  </a:lnTo>
                  <a:lnTo>
                    <a:pt x="342" y="105"/>
                  </a:lnTo>
                  <a:lnTo>
                    <a:pt x="342" y="116"/>
                  </a:lnTo>
                  <a:lnTo>
                    <a:pt x="321" y="105"/>
                  </a:lnTo>
                  <a:lnTo>
                    <a:pt x="333" y="96"/>
                  </a:lnTo>
                  <a:lnTo>
                    <a:pt x="321" y="87"/>
                  </a:lnTo>
                  <a:lnTo>
                    <a:pt x="321" y="76"/>
                  </a:lnTo>
                  <a:lnTo>
                    <a:pt x="333" y="68"/>
                  </a:lnTo>
                  <a:lnTo>
                    <a:pt x="321" y="68"/>
                  </a:lnTo>
                  <a:lnTo>
                    <a:pt x="311" y="68"/>
                  </a:lnTo>
                  <a:lnTo>
                    <a:pt x="299" y="57"/>
                  </a:lnTo>
                  <a:lnTo>
                    <a:pt x="290" y="57"/>
                  </a:lnTo>
                  <a:lnTo>
                    <a:pt x="290" y="68"/>
                  </a:lnTo>
                  <a:lnTo>
                    <a:pt x="278" y="76"/>
                  </a:lnTo>
                  <a:lnTo>
                    <a:pt x="278" y="96"/>
                  </a:lnTo>
                  <a:lnTo>
                    <a:pt x="278" y="105"/>
                  </a:lnTo>
                  <a:lnTo>
                    <a:pt x="290" y="125"/>
                  </a:lnTo>
                  <a:lnTo>
                    <a:pt x="278" y="134"/>
                  </a:lnTo>
                  <a:lnTo>
                    <a:pt x="278" y="144"/>
                  </a:lnTo>
                  <a:lnTo>
                    <a:pt x="278" y="154"/>
                  </a:lnTo>
                  <a:lnTo>
                    <a:pt x="290" y="164"/>
                  </a:lnTo>
                  <a:lnTo>
                    <a:pt x="290" y="173"/>
                  </a:lnTo>
                  <a:lnTo>
                    <a:pt x="268" y="173"/>
                  </a:lnTo>
                  <a:lnTo>
                    <a:pt x="256" y="164"/>
                  </a:lnTo>
                  <a:lnTo>
                    <a:pt x="246" y="164"/>
                  </a:lnTo>
                  <a:lnTo>
                    <a:pt x="235" y="164"/>
                  </a:lnTo>
                  <a:lnTo>
                    <a:pt x="246" y="154"/>
                  </a:lnTo>
                  <a:lnTo>
                    <a:pt x="224" y="154"/>
                  </a:lnTo>
                  <a:lnTo>
                    <a:pt x="203" y="154"/>
                  </a:lnTo>
                  <a:lnTo>
                    <a:pt x="192" y="144"/>
                  </a:lnTo>
                  <a:lnTo>
                    <a:pt x="192" y="154"/>
                  </a:lnTo>
                  <a:lnTo>
                    <a:pt x="172" y="154"/>
                  </a:lnTo>
                  <a:lnTo>
                    <a:pt x="172" y="144"/>
                  </a:lnTo>
                  <a:lnTo>
                    <a:pt x="172" y="125"/>
                  </a:lnTo>
                  <a:lnTo>
                    <a:pt x="160" y="125"/>
                  </a:lnTo>
                  <a:lnTo>
                    <a:pt x="149" y="125"/>
                  </a:lnTo>
                  <a:lnTo>
                    <a:pt x="149" y="116"/>
                  </a:lnTo>
                  <a:lnTo>
                    <a:pt x="160" y="105"/>
                  </a:lnTo>
                  <a:lnTo>
                    <a:pt x="149" y="116"/>
                  </a:lnTo>
                  <a:lnTo>
                    <a:pt x="128" y="105"/>
                  </a:lnTo>
                  <a:lnTo>
                    <a:pt x="118" y="116"/>
                  </a:lnTo>
                  <a:lnTo>
                    <a:pt x="118" y="125"/>
                  </a:lnTo>
                  <a:lnTo>
                    <a:pt x="97" y="125"/>
                  </a:lnTo>
                  <a:lnTo>
                    <a:pt x="97" y="116"/>
                  </a:lnTo>
                  <a:lnTo>
                    <a:pt x="75" y="116"/>
                  </a:lnTo>
                  <a:lnTo>
                    <a:pt x="63" y="116"/>
                  </a:lnTo>
                  <a:lnTo>
                    <a:pt x="53" y="105"/>
                  </a:lnTo>
                  <a:lnTo>
                    <a:pt x="42" y="116"/>
                  </a:lnTo>
                  <a:lnTo>
                    <a:pt x="31" y="116"/>
                  </a:lnTo>
                  <a:lnTo>
                    <a:pt x="22" y="116"/>
                  </a:lnTo>
                  <a:lnTo>
                    <a:pt x="10" y="116"/>
                  </a:lnTo>
                  <a:lnTo>
                    <a:pt x="10" y="125"/>
                  </a:lnTo>
                  <a:lnTo>
                    <a:pt x="22" y="125"/>
                  </a:lnTo>
                  <a:lnTo>
                    <a:pt x="31" y="125"/>
                  </a:lnTo>
                  <a:lnTo>
                    <a:pt x="42" y="125"/>
                  </a:lnTo>
                  <a:lnTo>
                    <a:pt x="42" y="134"/>
                  </a:lnTo>
                  <a:lnTo>
                    <a:pt x="42" y="144"/>
                  </a:lnTo>
                  <a:lnTo>
                    <a:pt x="31" y="144"/>
                  </a:lnTo>
                  <a:lnTo>
                    <a:pt x="31" y="154"/>
                  </a:lnTo>
                  <a:lnTo>
                    <a:pt x="22" y="154"/>
                  </a:lnTo>
                  <a:lnTo>
                    <a:pt x="10" y="154"/>
                  </a:lnTo>
                  <a:lnTo>
                    <a:pt x="0" y="164"/>
                  </a:lnTo>
                  <a:lnTo>
                    <a:pt x="10" y="164"/>
                  </a:lnTo>
                  <a:lnTo>
                    <a:pt x="22" y="173"/>
                  </a:lnTo>
                  <a:lnTo>
                    <a:pt x="31" y="192"/>
                  </a:lnTo>
                  <a:lnTo>
                    <a:pt x="31" y="183"/>
                  </a:lnTo>
                  <a:lnTo>
                    <a:pt x="53" y="192"/>
                  </a:lnTo>
                  <a:lnTo>
                    <a:pt x="53" y="183"/>
                  </a:lnTo>
                  <a:lnTo>
                    <a:pt x="63" y="183"/>
                  </a:lnTo>
                  <a:lnTo>
                    <a:pt x="63" y="192"/>
                  </a:lnTo>
                  <a:lnTo>
                    <a:pt x="85" y="212"/>
                  </a:lnTo>
                  <a:lnTo>
                    <a:pt x="97" y="212"/>
                  </a:lnTo>
                  <a:lnTo>
                    <a:pt x="97" y="221"/>
                  </a:lnTo>
                  <a:lnTo>
                    <a:pt x="106" y="221"/>
                  </a:lnTo>
                  <a:lnTo>
                    <a:pt x="106" y="231"/>
                  </a:lnTo>
                  <a:lnTo>
                    <a:pt x="106" y="241"/>
                  </a:lnTo>
                  <a:lnTo>
                    <a:pt x="128" y="241"/>
                  </a:lnTo>
                  <a:lnTo>
                    <a:pt x="149" y="241"/>
                  </a:lnTo>
                  <a:lnTo>
                    <a:pt x="138" y="251"/>
                  </a:lnTo>
                  <a:lnTo>
                    <a:pt x="149" y="251"/>
                  </a:lnTo>
                  <a:lnTo>
                    <a:pt x="160" y="260"/>
                  </a:lnTo>
                  <a:lnTo>
                    <a:pt x="149" y="278"/>
                  </a:lnTo>
                  <a:lnTo>
                    <a:pt x="160" y="278"/>
                  </a:lnTo>
                  <a:lnTo>
                    <a:pt x="172" y="288"/>
                  </a:lnTo>
                  <a:lnTo>
                    <a:pt x="192" y="288"/>
                  </a:lnTo>
                  <a:lnTo>
                    <a:pt x="172" y="288"/>
                  </a:lnTo>
                  <a:lnTo>
                    <a:pt x="172" y="298"/>
                  </a:lnTo>
                  <a:lnTo>
                    <a:pt x="181" y="298"/>
                  </a:lnTo>
                  <a:lnTo>
                    <a:pt x="181" y="307"/>
                  </a:lnTo>
                  <a:lnTo>
                    <a:pt x="160" y="328"/>
                  </a:lnTo>
                  <a:lnTo>
                    <a:pt x="160" y="337"/>
                  </a:lnTo>
                  <a:lnTo>
                    <a:pt x="172" y="356"/>
                  </a:lnTo>
                  <a:lnTo>
                    <a:pt x="181" y="356"/>
                  </a:lnTo>
                  <a:lnTo>
                    <a:pt x="181" y="375"/>
                  </a:lnTo>
                  <a:lnTo>
                    <a:pt x="192" y="385"/>
                  </a:lnTo>
                  <a:lnTo>
                    <a:pt x="192" y="395"/>
                  </a:lnTo>
                  <a:lnTo>
                    <a:pt x="213" y="404"/>
                  </a:lnTo>
                  <a:lnTo>
                    <a:pt x="224" y="395"/>
                  </a:lnTo>
                  <a:lnTo>
                    <a:pt x="224" y="404"/>
                  </a:lnTo>
                  <a:lnTo>
                    <a:pt x="224" y="415"/>
                  </a:lnTo>
                  <a:lnTo>
                    <a:pt x="213" y="424"/>
                  </a:lnTo>
                  <a:lnTo>
                    <a:pt x="224" y="424"/>
                  </a:lnTo>
                  <a:lnTo>
                    <a:pt x="213" y="433"/>
                  </a:lnTo>
                  <a:lnTo>
                    <a:pt x="213" y="453"/>
                  </a:lnTo>
                  <a:lnTo>
                    <a:pt x="213" y="461"/>
                  </a:lnTo>
                  <a:lnTo>
                    <a:pt x="203" y="471"/>
                  </a:lnTo>
                  <a:lnTo>
                    <a:pt x="203" y="481"/>
                  </a:lnTo>
                  <a:lnTo>
                    <a:pt x="213" y="481"/>
                  </a:lnTo>
                  <a:lnTo>
                    <a:pt x="213" y="491"/>
                  </a:lnTo>
                  <a:lnTo>
                    <a:pt x="213" y="501"/>
                  </a:lnTo>
                  <a:lnTo>
                    <a:pt x="224" y="510"/>
                  </a:lnTo>
                  <a:lnTo>
                    <a:pt x="224" y="520"/>
                  </a:lnTo>
                  <a:lnTo>
                    <a:pt x="224" y="540"/>
                  </a:lnTo>
                  <a:lnTo>
                    <a:pt x="224" y="548"/>
                  </a:lnTo>
                  <a:lnTo>
                    <a:pt x="213" y="540"/>
                  </a:lnTo>
                  <a:lnTo>
                    <a:pt x="213" y="529"/>
                  </a:lnTo>
                  <a:lnTo>
                    <a:pt x="213" y="520"/>
                  </a:lnTo>
                  <a:lnTo>
                    <a:pt x="203" y="510"/>
                  </a:lnTo>
                  <a:lnTo>
                    <a:pt x="203" y="501"/>
                  </a:lnTo>
                  <a:lnTo>
                    <a:pt x="192" y="491"/>
                  </a:lnTo>
                  <a:lnTo>
                    <a:pt x="192" y="481"/>
                  </a:lnTo>
                  <a:lnTo>
                    <a:pt x="181" y="491"/>
                  </a:lnTo>
                  <a:lnTo>
                    <a:pt x="181" y="520"/>
                  </a:lnTo>
                  <a:lnTo>
                    <a:pt x="181" y="529"/>
                  </a:lnTo>
                  <a:lnTo>
                    <a:pt x="172" y="540"/>
                  </a:lnTo>
                  <a:lnTo>
                    <a:pt x="172" y="558"/>
                  </a:lnTo>
                  <a:lnTo>
                    <a:pt x="160" y="558"/>
                  </a:lnTo>
                  <a:lnTo>
                    <a:pt x="181" y="568"/>
                  </a:lnTo>
                  <a:lnTo>
                    <a:pt x="172" y="577"/>
                  </a:lnTo>
                  <a:lnTo>
                    <a:pt x="149" y="577"/>
                  </a:lnTo>
                  <a:lnTo>
                    <a:pt x="149" y="588"/>
                  </a:lnTo>
                  <a:lnTo>
                    <a:pt x="149" y="597"/>
                  </a:lnTo>
                  <a:lnTo>
                    <a:pt x="138" y="606"/>
                  </a:lnTo>
                  <a:lnTo>
                    <a:pt x="138" y="616"/>
                  </a:lnTo>
                  <a:lnTo>
                    <a:pt x="128" y="616"/>
                  </a:lnTo>
                  <a:lnTo>
                    <a:pt x="128" y="634"/>
                  </a:lnTo>
                  <a:lnTo>
                    <a:pt x="118" y="634"/>
                  </a:lnTo>
                  <a:lnTo>
                    <a:pt x="106" y="645"/>
                  </a:lnTo>
                  <a:lnTo>
                    <a:pt x="106" y="654"/>
                  </a:lnTo>
                  <a:lnTo>
                    <a:pt x="85" y="674"/>
                  </a:lnTo>
                  <a:lnTo>
                    <a:pt x="63" y="693"/>
                  </a:lnTo>
                  <a:lnTo>
                    <a:pt x="75" y="702"/>
                  </a:lnTo>
                  <a:lnTo>
                    <a:pt x="85" y="713"/>
                  </a:lnTo>
                  <a:lnTo>
                    <a:pt x="85" y="721"/>
                  </a:lnTo>
                  <a:lnTo>
                    <a:pt x="85" y="731"/>
                  </a:lnTo>
                  <a:lnTo>
                    <a:pt x="97" y="731"/>
                  </a:lnTo>
                  <a:lnTo>
                    <a:pt x="106" y="731"/>
                  </a:lnTo>
                  <a:lnTo>
                    <a:pt x="128" y="752"/>
                  </a:lnTo>
                  <a:lnTo>
                    <a:pt x="138" y="752"/>
                  </a:lnTo>
                  <a:lnTo>
                    <a:pt x="149" y="770"/>
                  </a:lnTo>
                  <a:lnTo>
                    <a:pt x="160" y="770"/>
                  </a:lnTo>
                  <a:lnTo>
                    <a:pt x="172" y="770"/>
                  </a:lnTo>
                  <a:lnTo>
                    <a:pt x="181" y="779"/>
                  </a:lnTo>
                  <a:lnTo>
                    <a:pt x="203" y="798"/>
                  </a:lnTo>
                  <a:lnTo>
                    <a:pt x="213" y="798"/>
                  </a:lnTo>
                  <a:lnTo>
                    <a:pt x="235" y="809"/>
                  </a:lnTo>
                  <a:lnTo>
                    <a:pt x="246" y="809"/>
                  </a:lnTo>
                  <a:lnTo>
                    <a:pt x="246" y="819"/>
                  </a:lnTo>
                  <a:lnTo>
                    <a:pt x="270" y="821"/>
                  </a:lnTo>
                  <a:lnTo>
                    <a:pt x="296" y="813"/>
                  </a:lnTo>
                  <a:lnTo>
                    <a:pt x="308" y="822"/>
                  </a:lnTo>
                  <a:lnTo>
                    <a:pt x="314" y="832"/>
                  </a:lnTo>
                  <a:lnTo>
                    <a:pt x="311" y="846"/>
                  </a:lnTo>
                  <a:lnTo>
                    <a:pt x="321" y="857"/>
                  </a:lnTo>
                  <a:lnTo>
                    <a:pt x="333" y="857"/>
                  </a:lnTo>
                  <a:lnTo>
                    <a:pt x="342" y="857"/>
                  </a:lnTo>
                  <a:lnTo>
                    <a:pt x="353" y="857"/>
                  </a:lnTo>
                  <a:lnTo>
                    <a:pt x="364" y="867"/>
                  </a:lnTo>
                  <a:lnTo>
                    <a:pt x="374" y="876"/>
                  </a:lnTo>
                  <a:lnTo>
                    <a:pt x="385" y="876"/>
                  </a:lnTo>
                  <a:lnTo>
                    <a:pt x="406" y="876"/>
                  </a:lnTo>
                  <a:lnTo>
                    <a:pt x="416" y="884"/>
                  </a:lnTo>
                  <a:lnTo>
                    <a:pt x="431" y="887"/>
                  </a:lnTo>
                  <a:lnTo>
                    <a:pt x="439" y="884"/>
                  </a:lnTo>
                  <a:lnTo>
                    <a:pt x="449" y="884"/>
                  </a:lnTo>
                  <a:lnTo>
                    <a:pt x="457" y="889"/>
                  </a:lnTo>
                  <a:lnTo>
                    <a:pt x="469" y="880"/>
                  </a:lnTo>
                  <a:lnTo>
                    <a:pt x="465" y="878"/>
                  </a:lnTo>
                  <a:lnTo>
                    <a:pt x="462" y="871"/>
                  </a:lnTo>
                  <a:lnTo>
                    <a:pt x="460" y="867"/>
                  </a:lnTo>
                  <a:lnTo>
                    <a:pt x="471" y="857"/>
                  </a:lnTo>
                  <a:lnTo>
                    <a:pt x="460" y="846"/>
                  </a:lnTo>
                  <a:lnTo>
                    <a:pt x="471" y="827"/>
                  </a:lnTo>
                  <a:lnTo>
                    <a:pt x="471" y="819"/>
                  </a:lnTo>
                  <a:lnTo>
                    <a:pt x="482" y="809"/>
                  </a:lnTo>
                  <a:lnTo>
                    <a:pt x="492" y="809"/>
                  </a:lnTo>
                  <a:lnTo>
                    <a:pt x="503" y="798"/>
                  </a:lnTo>
                  <a:lnTo>
                    <a:pt x="514" y="798"/>
                  </a:lnTo>
                  <a:lnTo>
                    <a:pt x="524" y="798"/>
                  </a:lnTo>
                  <a:lnTo>
                    <a:pt x="535" y="798"/>
                  </a:lnTo>
                  <a:lnTo>
                    <a:pt x="546" y="789"/>
                  </a:lnTo>
                  <a:lnTo>
                    <a:pt x="557" y="779"/>
                  </a:lnTo>
                  <a:lnTo>
                    <a:pt x="567" y="779"/>
                  </a:lnTo>
                  <a:lnTo>
                    <a:pt x="578" y="789"/>
                  </a:lnTo>
                  <a:lnTo>
                    <a:pt x="589" y="798"/>
                  </a:lnTo>
                  <a:lnTo>
                    <a:pt x="599" y="798"/>
                  </a:lnTo>
                  <a:lnTo>
                    <a:pt x="621" y="798"/>
                  </a:lnTo>
                  <a:lnTo>
                    <a:pt x="621" y="819"/>
                  </a:lnTo>
                  <a:lnTo>
                    <a:pt x="630" y="809"/>
                  </a:lnTo>
                  <a:lnTo>
                    <a:pt x="642" y="809"/>
                  </a:lnTo>
                  <a:lnTo>
                    <a:pt x="652" y="798"/>
                  </a:lnTo>
                  <a:lnTo>
                    <a:pt x="664" y="798"/>
                  </a:lnTo>
                  <a:lnTo>
                    <a:pt x="664" y="809"/>
                  </a:lnTo>
                  <a:lnTo>
                    <a:pt x="664" y="819"/>
                  </a:lnTo>
                  <a:lnTo>
                    <a:pt x="673" y="819"/>
                  </a:lnTo>
                  <a:lnTo>
                    <a:pt x="684" y="819"/>
                  </a:lnTo>
                  <a:lnTo>
                    <a:pt x="684" y="827"/>
                  </a:lnTo>
                  <a:lnTo>
                    <a:pt x="684" y="837"/>
                  </a:lnTo>
                  <a:lnTo>
                    <a:pt x="695" y="827"/>
                  </a:lnTo>
                  <a:lnTo>
                    <a:pt x="707" y="837"/>
                  </a:lnTo>
                  <a:lnTo>
                    <a:pt x="717" y="846"/>
                  </a:lnTo>
                  <a:lnTo>
                    <a:pt x="717" y="857"/>
                  </a:lnTo>
                  <a:lnTo>
                    <a:pt x="728" y="867"/>
                  </a:lnTo>
                  <a:lnTo>
                    <a:pt x="739" y="867"/>
                  </a:lnTo>
                  <a:lnTo>
                    <a:pt x="748" y="867"/>
                  </a:lnTo>
                  <a:lnTo>
                    <a:pt x="760" y="867"/>
                  </a:lnTo>
                  <a:lnTo>
                    <a:pt x="770" y="867"/>
                  </a:lnTo>
                  <a:lnTo>
                    <a:pt x="782" y="867"/>
                  </a:lnTo>
                  <a:lnTo>
                    <a:pt x="793" y="857"/>
                  </a:lnTo>
                  <a:lnTo>
                    <a:pt x="793" y="846"/>
                  </a:lnTo>
                  <a:lnTo>
                    <a:pt x="793" y="837"/>
                  </a:lnTo>
                  <a:lnTo>
                    <a:pt x="803" y="837"/>
                  </a:lnTo>
                  <a:lnTo>
                    <a:pt x="814" y="837"/>
                  </a:lnTo>
                  <a:lnTo>
                    <a:pt x="823" y="837"/>
                  </a:lnTo>
                  <a:lnTo>
                    <a:pt x="823" y="827"/>
                  </a:lnTo>
                  <a:lnTo>
                    <a:pt x="835" y="827"/>
                  </a:lnTo>
                  <a:lnTo>
                    <a:pt x="845" y="827"/>
                  </a:lnTo>
                  <a:lnTo>
                    <a:pt x="845" y="837"/>
                  </a:lnTo>
                  <a:lnTo>
                    <a:pt x="867" y="819"/>
                  </a:lnTo>
                  <a:lnTo>
                    <a:pt x="857" y="827"/>
                  </a:lnTo>
                  <a:lnTo>
                    <a:pt x="867" y="819"/>
                  </a:lnTo>
                  <a:lnTo>
                    <a:pt x="867" y="819"/>
                  </a:lnTo>
                  <a:lnTo>
                    <a:pt x="867" y="819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93" name="Freeform 7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3778250" y="4635501"/>
              <a:ext cx="1327150" cy="1162050"/>
            </a:xfrm>
            <a:custGeom>
              <a:avLst/>
              <a:gdLst>
                <a:gd name="T0" fmla="*/ 97 w 1006"/>
                <a:gd name="T1" fmla="*/ 289 h 954"/>
                <a:gd name="T2" fmla="*/ 149 w 1006"/>
                <a:gd name="T3" fmla="*/ 241 h 954"/>
                <a:gd name="T4" fmla="*/ 246 w 1006"/>
                <a:gd name="T5" fmla="*/ 271 h 954"/>
                <a:gd name="T6" fmla="*/ 267 w 1006"/>
                <a:gd name="T7" fmla="*/ 260 h 954"/>
                <a:gd name="T8" fmla="*/ 299 w 1006"/>
                <a:gd name="T9" fmla="*/ 348 h 954"/>
                <a:gd name="T10" fmla="*/ 374 w 1006"/>
                <a:gd name="T11" fmla="*/ 462 h 954"/>
                <a:gd name="T12" fmla="*/ 502 w 1006"/>
                <a:gd name="T13" fmla="*/ 587 h 954"/>
                <a:gd name="T14" fmla="*/ 567 w 1006"/>
                <a:gd name="T15" fmla="*/ 617 h 954"/>
                <a:gd name="T16" fmla="*/ 653 w 1006"/>
                <a:gd name="T17" fmla="*/ 685 h 954"/>
                <a:gd name="T18" fmla="*/ 673 w 1006"/>
                <a:gd name="T19" fmla="*/ 732 h 954"/>
                <a:gd name="T20" fmla="*/ 750 w 1006"/>
                <a:gd name="T21" fmla="*/ 761 h 954"/>
                <a:gd name="T22" fmla="*/ 782 w 1006"/>
                <a:gd name="T23" fmla="*/ 868 h 954"/>
                <a:gd name="T24" fmla="*/ 750 w 1006"/>
                <a:gd name="T25" fmla="*/ 897 h 954"/>
                <a:gd name="T26" fmla="*/ 728 w 1006"/>
                <a:gd name="T27" fmla="*/ 945 h 954"/>
                <a:gd name="T28" fmla="*/ 782 w 1006"/>
                <a:gd name="T29" fmla="*/ 945 h 954"/>
                <a:gd name="T30" fmla="*/ 813 w 1006"/>
                <a:gd name="T31" fmla="*/ 897 h 954"/>
                <a:gd name="T32" fmla="*/ 866 w 1006"/>
                <a:gd name="T33" fmla="*/ 868 h 954"/>
                <a:gd name="T34" fmla="*/ 878 w 1006"/>
                <a:gd name="T35" fmla="*/ 820 h 954"/>
                <a:gd name="T36" fmla="*/ 834 w 1006"/>
                <a:gd name="T37" fmla="*/ 782 h 954"/>
                <a:gd name="T38" fmla="*/ 857 w 1006"/>
                <a:gd name="T39" fmla="*/ 724 h 954"/>
                <a:gd name="T40" fmla="*/ 888 w 1006"/>
                <a:gd name="T41" fmla="*/ 704 h 954"/>
                <a:gd name="T42" fmla="*/ 943 w 1006"/>
                <a:gd name="T43" fmla="*/ 724 h 954"/>
                <a:gd name="T44" fmla="*/ 963 w 1006"/>
                <a:gd name="T45" fmla="*/ 761 h 954"/>
                <a:gd name="T46" fmla="*/ 1006 w 1006"/>
                <a:gd name="T47" fmla="*/ 742 h 954"/>
                <a:gd name="T48" fmla="*/ 963 w 1006"/>
                <a:gd name="T49" fmla="*/ 674 h 954"/>
                <a:gd name="T50" fmla="*/ 866 w 1006"/>
                <a:gd name="T51" fmla="*/ 635 h 954"/>
                <a:gd name="T52" fmla="*/ 803 w 1006"/>
                <a:gd name="T53" fmla="*/ 606 h 954"/>
                <a:gd name="T54" fmla="*/ 803 w 1006"/>
                <a:gd name="T55" fmla="*/ 578 h 954"/>
                <a:gd name="T56" fmla="*/ 707 w 1006"/>
                <a:gd name="T57" fmla="*/ 549 h 954"/>
                <a:gd name="T58" fmla="*/ 632 w 1006"/>
                <a:gd name="T59" fmla="*/ 473 h 954"/>
                <a:gd name="T60" fmla="*/ 598 w 1006"/>
                <a:gd name="T61" fmla="*/ 385 h 954"/>
                <a:gd name="T62" fmla="*/ 557 w 1006"/>
                <a:gd name="T63" fmla="*/ 337 h 954"/>
                <a:gd name="T64" fmla="*/ 492 w 1006"/>
                <a:gd name="T65" fmla="*/ 298 h 954"/>
                <a:gd name="T66" fmla="*/ 492 w 1006"/>
                <a:gd name="T67" fmla="*/ 241 h 954"/>
                <a:gd name="T68" fmla="*/ 492 w 1006"/>
                <a:gd name="T69" fmla="*/ 201 h 954"/>
                <a:gd name="T70" fmla="*/ 502 w 1006"/>
                <a:gd name="T71" fmla="*/ 164 h 954"/>
                <a:gd name="T72" fmla="*/ 567 w 1006"/>
                <a:gd name="T73" fmla="*/ 154 h 954"/>
                <a:gd name="T74" fmla="*/ 598 w 1006"/>
                <a:gd name="T75" fmla="*/ 154 h 954"/>
                <a:gd name="T76" fmla="*/ 621 w 1006"/>
                <a:gd name="T77" fmla="*/ 125 h 954"/>
                <a:gd name="T78" fmla="*/ 621 w 1006"/>
                <a:gd name="T79" fmla="*/ 77 h 954"/>
                <a:gd name="T80" fmla="*/ 567 w 1006"/>
                <a:gd name="T81" fmla="*/ 57 h 954"/>
                <a:gd name="T82" fmla="*/ 524 w 1006"/>
                <a:gd name="T83" fmla="*/ 28 h 954"/>
                <a:gd name="T84" fmla="*/ 460 w 1006"/>
                <a:gd name="T85" fmla="*/ 9 h 954"/>
                <a:gd name="T86" fmla="*/ 407 w 1006"/>
                <a:gd name="T87" fmla="*/ 19 h 954"/>
                <a:gd name="T88" fmla="*/ 374 w 1006"/>
                <a:gd name="T89" fmla="*/ 0 h 954"/>
                <a:gd name="T90" fmla="*/ 353 w 1006"/>
                <a:gd name="T91" fmla="*/ 28 h 954"/>
                <a:gd name="T92" fmla="*/ 321 w 1006"/>
                <a:gd name="T93" fmla="*/ 57 h 954"/>
                <a:gd name="T94" fmla="*/ 278 w 1006"/>
                <a:gd name="T95" fmla="*/ 38 h 954"/>
                <a:gd name="T96" fmla="*/ 246 w 1006"/>
                <a:gd name="T97" fmla="*/ 57 h 954"/>
                <a:gd name="T98" fmla="*/ 203 w 1006"/>
                <a:gd name="T99" fmla="*/ 68 h 954"/>
                <a:gd name="T100" fmla="*/ 171 w 1006"/>
                <a:gd name="T101" fmla="*/ 28 h 954"/>
                <a:gd name="T102" fmla="*/ 118 w 1006"/>
                <a:gd name="T103" fmla="*/ 68 h 954"/>
                <a:gd name="T104" fmla="*/ 43 w 1006"/>
                <a:gd name="T105" fmla="*/ 77 h 954"/>
                <a:gd name="T106" fmla="*/ 53 w 1006"/>
                <a:gd name="T107" fmla="*/ 125 h 954"/>
                <a:gd name="T108" fmla="*/ 0 w 1006"/>
                <a:gd name="T109" fmla="*/ 144 h 954"/>
                <a:gd name="T110" fmla="*/ 31 w 1006"/>
                <a:gd name="T111" fmla="*/ 182 h 954"/>
                <a:gd name="T112" fmla="*/ 22 w 1006"/>
                <a:gd name="T113" fmla="*/ 241 h 954"/>
                <a:gd name="T114" fmla="*/ 63 w 1006"/>
                <a:gd name="T115" fmla="*/ 280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06" h="954">
                  <a:moveTo>
                    <a:pt x="43" y="308"/>
                  </a:moveTo>
                  <a:lnTo>
                    <a:pt x="63" y="298"/>
                  </a:lnTo>
                  <a:lnTo>
                    <a:pt x="74" y="289"/>
                  </a:lnTo>
                  <a:lnTo>
                    <a:pt x="85" y="289"/>
                  </a:lnTo>
                  <a:lnTo>
                    <a:pt x="97" y="289"/>
                  </a:lnTo>
                  <a:lnTo>
                    <a:pt x="118" y="280"/>
                  </a:lnTo>
                  <a:lnTo>
                    <a:pt x="128" y="271"/>
                  </a:lnTo>
                  <a:lnTo>
                    <a:pt x="128" y="260"/>
                  </a:lnTo>
                  <a:lnTo>
                    <a:pt x="138" y="250"/>
                  </a:lnTo>
                  <a:lnTo>
                    <a:pt x="149" y="241"/>
                  </a:lnTo>
                  <a:lnTo>
                    <a:pt x="171" y="241"/>
                  </a:lnTo>
                  <a:lnTo>
                    <a:pt x="183" y="241"/>
                  </a:lnTo>
                  <a:lnTo>
                    <a:pt x="203" y="260"/>
                  </a:lnTo>
                  <a:lnTo>
                    <a:pt x="215" y="250"/>
                  </a:lnTo>
                  <a:lnTo>
                    <a:pt x="246" y="271"/>
                  </a:lnTo>
                  <a:lnTo>
                    <a:pt x="246" y="260"/>
                  </a:lnTo>
                  <a:lnTo>
                    <a:pt x="258" y="250"/>
                  </a:lnTo>
                  <a:lnTo>
                    <a:pt x="267" y="250"/>
                  </a:lnTo>
                  <a:lnTo>
                    <a:pt x="278" y="250"/>
                  </a:lnTo>
                  <a:lnTo>
                    <a:pt x="267" y="260"/>
                  </a:lnTo>
                  <a:lnTo>
                    <a:pt x="267" y="271"/>
                  </a:lnTo>
                  <a:lnTo>
                    <a:pt x="278" y="280"/>
                  </a:lnTo>
                  <a:lnTo>
                    <a:pt x="267" y="289"/>
                  </a:lnTo>
                  <a:lnTo>
                    <a:pt x="289" y="308"/>
                  </a:lnTo>
                  <a:lnTo>
                    <a:pt x="299" y="348"/>
                  </a:lnTo>
                  <a:lnTo>
                    <a:pt x="311" y="385"/>
                  </a:lnTo>
                  <a:lnTo>
                    <a:pt x="321" y="395"/>
                  </a:lnTo>
                  <a:lnTo>
                    <a:pt x="342" y="442"/>
                  </a:lnTo>
                  <a:lnTo>
                    <a:pt x="353" y="442"/>
                  </a:lnTo>
                  <a:lnTo>
                    <a:pt x="374" y="462"/>
                  </a:lnTo>
                  <a:lnTo>
                    <a:pt x="385" y="481"/>
                  </a:lnTo>
                  <a:lnTo>
                    <a:pt x="396" y="491"/>
                  </a:lnTo>
                  <a:lnTo>
                    <a:pt x="407" y="501"/>
                  </a:lnTo>
                  <a:lnTo>
                    <a:pt x="439" y="530"/>
                  </a:lnTo>
                  <a:lnTo>
                    <a:pt x="502" y="587"/>
                  </a:lnTo>
                  <a:lnTo>
                    <a:pt x="514" y="587"/>
                  </a:lnTo>
                  <a:lnTo>
                    <a:pt x="524" y="606"/>
                  </a:lnTo>
                  <a:lnTo>
                    <a:pt x="546" y="606"/>
                  </a:lnTo>
                  <a:lnTo>
                    <a:pt x="557" y="626"/>
                  </a:lnTo>
                  <a:lnTo>
                    <a:pt x="567" y="617"/>
                  </a:lnTo>
                  <a:lnTo>
                    <a:pt x="598" y="646"/>
                  </a:lnTo>
                  <a:lnTo>
                    <a:pt x="610" y="656"/>
                  </a:lnTo>
                  <a:lnTo>
                    <a:pt x="621" y="665"/>
                  </a:lnTo>
                  <a:lnTo>
                    <a:pt x="632" y="665"/>
                  </a:lnTo>
                  <a:lnTo>
                    <a:pt x="653" y="685"/>
                  </a:lnTo>
                  <a:lnTo>
                    <a:pt x="664" y="685"/>
                  </a:lnTo>
                  <a:lnTo>
                    <a:pt x="673" y="694"/>
                  </a:lnTo>
                  <a:lnTo>
                    <a:pt x="673" y="714"/>
                  </a:lnTo>
                  <a:lnTo>
                    <a:pt x="673" y="724"/>
                  </a:lnTo>
                  <a:lnTo>
                    <a:pt x="673" y="732"/>
                  </a:lnTo>
                  <a:lnTo>
                    <a:pt x="696" y="742"/>
                  </a:lnTo>
                  <a:lnTo>
                    <a:pt x="707" y="742"/>
                  </a:lnTo>
                  <a:lnTo>
                    <a:pt x="716" y="742"/>
                  </a:lnTo>
                  <a:lnTo>
                    <a:pt x="739" y="751"/>
                  </a:lnTo>
                  <a:lnTo>
                    <a:pt x="750" y="761"/>
                  </a:lnTo>
                  <a:lnTo>
                    <a:pt x="750" y="771"/>
                  </a:lnTo>
                  <a:lnTo>
                    <a:pt x="760" y="781"/>
                  </a:lnTo>
                  <a:lnTo>
                    <a:pt x="770" y="810"/>
                  </a:lnTo>
                  <a:lnTo>
                    <a:pt x="782" y="839"/>
                  </a:lnTo>
                  <a:lnTo>
                    <a:pt x="782" y="868"/>
                  </a:lnTo>
                  <a:lnTo>
                    <a:pt x="770" y="877"/>
                  </a:lnTo>
                  <a:lnTo>
                    <a:pt x="760" y="877"/>
                  </a:lnTo>
                  <a:lnTo>
                    <a:pt x="750" y="877"/>
                  </a:lnTo>
                  <a:lnTo>
                    <a:pt x="750" y="886"/>
                  </a:lnTo>
                  <a:lnTo>
                    <a:pt x="750" y="897"/>
                  </a:lnTo>
                  <a:lnTo>
                    <a:pt x="750" y="906"/>
                  </a:lnTo>
                  <a:lnTo>
                    <a:pt x="750" y="915"/>
                  </a:lnTo>
                  <a:lnTo>
                    <a:pt x="739" y="926"/>
                  </a:lnTo>
                  <a:lnTo>
                    <a:pt x="728" y="935"/>
                  </a:lnTo>
                  <a:lnTo>
                    <a:pt x="728" y="945"/>
                  </a:lnTo>
                  <a:lnTo>
                    <a:pt x="739" y="954"/>
                  </a:lnTo>
                  <a:lnTo>
                    <a:pt x="750" y="954"/>
                  </a:lnTo>
                  <a:lnTo>
                    <a:pt x="760" y="954"/>
                  </a:lnTo>
                  <a:lnTo>
                    <a:pt x="770" y="954"/>
                  </a:lnTo>
                  <a:lnTo>
                    <a:pt x="782" y="945"/>
                  </a:lnTo>
                  <a:lnTo>
                    <a:pt x="791" y="945"/>
                  </a:lnTo>
                  <a:lnTo>
                    <a:pt x="791" y="935"/>
                  </a:lnTo>
                  <a:lnTo>
                    <a:pt x="813" y="926"/>
                  </a:lnTo>
                  <a:lnTo>
                    <a:pt x="813" y="915"/>
                  </a:lnTo>
                  <a:lnTo>
                    <a:pt x="813" y="897"/>
                  </a:lnTo>
                  <a:lnTo>
                    <a:pt x="825" y="886"/>
                  </a:lnTo>
                  <a:lnTo>
                    <a:pt x="834" y="877"/>
                  </a:lnTo>
                  <a:lnTo>
                    <a:pt x="845" y="868"/>
                  </a:lnTo>
                  <a:lnTo>
                    <a:pt x="857" y="868"/>
                  </a:lnTo>
                  <a:lnTo>
                    <a:pt x="866" y="868"/>
                  </a:lnTo>
                  <a:lnTo>
                    <a:pt x="878" y="868"/>
                  </a:lnTo>
                  <a:lnTo>
                    <a:pt x="878" y="858"/>
                  </a:lnTo>
                  <a:lnTo>
                    <a:pt x="878" y="849"/>
                  </a:lnTo>
                  <a:lnTo>
                    <a:pt x="878" y="839"/>
                  </a:lnTo>
                  <a:lnTo>
                    <a:pt x="878" y="820"/>
                  </a:lnTo>
                  <a:lnTo>
                    <a:pt x="878" y="810"/>
                  </a:lnTo>
                  <a:lnTo>
                    <a:pt x="878" y="800"/>
                  </a:lnTo>
                  <a:lnTo>
                    <a:pt x="866" y="790"/>
                  </a:lnTo>
                  <a:lnTo>
                    <a:pt x="845" y="800"/>
                  </a:lnTo>
                  <a:lnTo>
                    <a:pt x="834" y="782"/>
                  </a:lnTo>
                  <a:lnTo>
                    <a:pt x="832" y="757"/>
                  </a:lnTo>
                  <a:lnTo>
                    <a:pt x="834" y="742"/>
                  </a:lnTo>
                  <a:lnTo>
                    <a:pt x="845" y="742"/>
                  </a:lnTo>
                  <a:lnTo>
                    <a:pt x="845" y="732"/>
                  </a:lnTo>
                  <a:lnTo>
                    <a:pt x="857" y="724"/>
                  </a:lnTo>
                  <a:lnTo>
                    <a:pt x="845" y="724"/>
                  </a:lnTo>
                  <a:lnTo>
                    <a:pt x="857" y="714"/>
                  </a:lnTo>
                  <a:lnTo>
                    <a:pt x="866" y="704"/>
                  </a:lnTo>
                  <a:lnTo>
                    <a:pt x="878" y="704"/>
                  </a:lnTo>
                  <a:lnTo>
                    <a:pt x="888" y="704"/>
                  </a:lnTo>
                  <a:lnTo>
                    <a:pt x="888" y="714"/>
                  </a:lnTo>
                  <a:lnTo>
                    <a:pt x="909" y="724"/>
                  </a:lnTo>
                  <a:lnTo>
                    <a:pt x="920" y="724"/>
                  </a:lnTo>
                  <a:lnTo>
                    <a:pt x="931" y="724"/>
                  </a:lnTo>
                  <a:lnTo>
                    <a:pt x="943" y="724"/>
                  </a:lnTo>
                  <a:lnTo>
                    <a:pt x="953" y="724"/>
                  </a:lnTo>
                  <a:lnTo>
                    <a:pt x="953" y="732"/>
                  </a:lnTo>
                  <a:lnTo>
                    <a:pt x="953" y="742"/>
                  </a:lnTo>
                  <a:lnTo>
                    <a:pt x="963" y="751"/>
                  </a:lnTo>
                  <a:lnTo>
                    <a:pt x="963" y="761"/>
                  </a:lnTo>
                  <a:lnTo>
                    <a:pt x="975" y="771"/>
                  </a:lnTo>
                  <a:lnTo>
                    <a:pt x="984" y="771"/>
                  </a:lnTo>
                  <a:lnTo>
                    <a:pt x="996" y="771"/>
                  </a:lnTo>
                  <a:lnTo>
                    <a:pt x="1006" y="761"/>
                  </a:lnTo>
                  <a:lnTo>
                    <a:pt x="1006" y="742"/>
                  </a:lnTo>
                  <a:lnTo>
                    <a:pt x="1006" y="724"/>
                  </a:lnTo>
                  <a:lnTo>
                    <a:pt x="1006" y="714"/>
                  </a:lnTo>
                  <a:lnTo>
                    <a:pt x="984" y="704"/>
                  </a:lnTo>
                  <a:lnTo>
                    <a:pt x="975" y="685"/>
                  </a:lnTo>
                  <a:lnTo>
                    <a:pt x="963" y="674"/>
                  </a:lnTo>
                  <a:lnTo>
                    <a:pt x="943" y="665"/>
                  </a:lnTo>
                  <a:lnTo>
                    <a:pt x="920" y="665"/>
                  </a:lnTo>
                  <a:lnTo>
                    <a:pt x="909" y="656"/>
                  </a:lnTo>
                  <a:lnTo>
                    <a:pt x="900" y="646"/>
                  </a:lnTo>
                  <a:lnTo>
                    <a:pt x="866" y="635"/>
                  </a:lnTo>
                  <a:lnTo>
                    <a:pt x="857" y="626"/>
                  </a:lnTo>
                  <a:lnTo>
                    <a:pt x="845" y="617"/>
                  </a:lnTo>
                  <a:lnTo>
                    <a:pt x="834" y="617"/>
                  </a:lnTo>
                  <a:lnTo>
                    <a:pt x="813" y="617"/>
                  </a:lnTo>
                  <a:lnTo>
                    <a:pt x="803" y="606"/>
                  </a:lnTo>
                  <a:lnTo>
                    <a:pt x="782" y="598"/>
                  </a:lnTo>
                  <a:lnTo>
                    <a:pt x="770" y="598"/>
                  </a:lnTo>
                  <a:lnTo>
                    <a:pt x="782" y="587"/>
                  </a:lnTo>
                  <a:lnTo>
                    <a:pt x="791" y="587"/>
                  </a:lnTo>
                  <a:lnTo>
                    <a:pt x="803" y="578"/>
                  </a:lnTo>
                  <a:lnTo>
                    <a:pt x="803" y="559"/>
                  </a:lnTo>
                  <a:lnTo>
                    <a:pt x="770" y="549"/>
                  </a:lnTo>
                  <a:lnTo>
                    <a:pt x="760" y="549"/>
                  </a:lnTo>
                  <a:lnTo>
                    <a:pt x="728" y="549"/>
                  </a:lnTo>
                  <a:lnTo>
                    <a:pt x="707" y="549"/>
                  </a:lnTo>
                  <a:lnTo>
                    <a:pt x="685" y="540"/>
                  </a:lnTo>
                  <a:lnTo>
                    <a:pt x="673" y="521"/>
                  </a:lnTo>
                  <a:lnTo>
                    <a:pt x="664" y="510"/>
                  </a:lnTo>
                  <a:lnTo>
                    <a:pt x="642" y="491"/>
                  </a:lnTo>
                  <a:lnTo>
                    <a:pt x="632" y="473"/>
                  </a:lnTo>
                  <a:lnTo>
                    <a:pt x="610" y="453"/>
                  </a:lnTo>
                  <a:lnTo>
                    <a:pt x="610" y="434"/>
                  </a:lnTo>
                  <a:lnTo>
                    <a:pt x="621" y="424"/>
                  </a:lnTo>
                  <a:lnTo>
                    <a:pt x="610" y="405"/>
                  </a:lnTo>
                  <a:lnTo>
                    <a:pt x="598" y="385"/>
                  </a:lnTo>
                  <a:lnTo>
                    <a:pt x="598" y="376"/>
                  </a:lnTo>
                  <a:lnTo>
                    <a:pt x="589" y="366"/>
                  </a:lnTo>
                  <a:lnTo>
                    <a:pt x="589" y="348"/>
                  </a:lnTo>
                  <a:lnTo>
                    <a:pt x="577" y="348"/>
                  </a:lnTo>
                  <a:lnTo>
                    <a:pt x="557" y="337"/>
                  </a:lnTo>
                  <a:lnTo>
                    <a:pt x="535" y="328"/>
                  </a:lnTo>
                  <a:lnTo>
                    <a:pt x="524" y="328"/>
                  </a:lnTo>
                  <a:lnTo>
                    <a:pt x="502" y="318"/>
                  </a:lnTo>
                  <a:lnTo>
                    <a:pt x="502" y="308"/>
                  </a:lnTo>
                  <a:lnTo>
                    <a:pt x="492" y="298"/>
                  </a:lnTo>
                  <a:lnTo>
                    <a:pt x="492" y="289"/>
                  </a:lnTo>
                  <a:lnTo>
                    <a:pt x="482" y="271"/>
                  </a:lnTo>
                  <a:lnTo>
                    <a:pt x="492" y="260"/>
                  </a:lnTo>
                  <a:lnTo>
                    <a:pt x="492" y="250"/>
                  </a:lnTo>
                  <a:lnTo>
                    <a:pt x="492" y="241"/>
                  </a:lnTo>
                  <a:lnTo>
                    <a:pt x="502" y="232"/>
                  </a:lnTo>
                  <a:lnTo>
                    <a:pt x="514" y="221"/>
                  </a:lnTo>
                  <a:lnTo>
                    <a:pt x="514" y="212"/>
                  </a:lnTo>
                  <a:lnTo>
                    <a:pt x="502" y="212"/>
                  </a:lnTo>
                  <a:lnTo>
                    <a:pt x="492" y="201"/>
                  </a:lnTo>
                  <a:lnTo>
                    <a:pt x="492" y="193"/>
                  </a:lnTo>
                  <a:lnTo>
                    <a:pt x="482" y="193"/>
                  </a:lnTo>
                  <a:lnTo>
                    <a:pt x="492" y="182"/>
                  </a:lnTo>
                  <a:lnTo>
                    <a:pt x="502" y="182"/>
                  </a:lnTo>
                  <a:lnTo>
                    <a:pt x="502" y="164"/>
                  </a:lnTo>
                  <a:lnTo>
                    <a:pt x="524" y="164"/>
                  </a:lnTo>
                  <a:lnTo>
                    <a:pt x="535" y="164"/>
                  </a:lnTo>
                  <a:lnTo>
                    <a:pt x="546" y="164"/>
                  </a:lnTo>
                  <a:lnTo>
                    <a:pt x="557" y="164"/>
                  </a:lnTo>
                  <a:lnTo>
                    <a:pt x="567" y="154"/>
                  </a:lnTo>
                  <a:lnTo>
                    <a:pt x="577" y="154"/>
                  </a:lnTo>
                  <a:lnTo>
                    <a:pt x="577" y="144"/>
                  </a:lnTo>
                  <a:lnTo>
                    <a:pt x="589" y="144"/>
                  </a:lnTo>
                  <a:lnTo>
                    <a:pt x="598" y="144"/>
                  </a:lnTo>
                  <a:lnTo>
                    <a:pt x="598" y="154"/>
                  </a:lnTo>
                  <a:lnTo>
                    <a:pt x="610" y="164"/>
                  </a:lnTo>
                  <a:lnTo>
                    <a:pt x="610" y="144"/>
                  </a:lnTo>
                  <a:lnTo>
                    <a:pt x="621" y="144"/>
                  </a:lnTo>
                  <a:lnTo>
                    <a:pt x="632" y="134"/>
                  </a:lnTo>
                  <a:lnTo>
                    <a:pt x="621" y="125"/>
                  </a:lnTo>
                  <a:lnTo>
                    <a:pt x="610" y="115"/>
                  </a:lnTo>
                  <a:lnTo>
                    <a:pt x="632" y="107"/>
                  </a:lnTo>
                  <a:lnTo>
                    <a:pt x="632" y="97"/>
                  </a:lnTo>
                  <a:lnTo>
                    <a:pt x="621" y="87"/>
                  </a:lnTo>
                  <a:lnTo>
                    <a:pt x="621" y="77"/>
                  </a:lnTo>
                  <a:lnTo>
                    <a:pt x="621" y="68"/>
                  </a:lnTo>
                  <a:lnTo>
                    <a:pt x="610" y="68"/>
                  </a:lnTo>
                  <a:lnTo>
                    <a:pt x="598" y="57"/>
                  </a:lnTo>
                  <a:lnTo>
                    <a:pt x="577" y="57"/>
                  </a:lnTo>
                  <a:lnTo>
                    <a:pt x="567" y="57"/>
                  </a:lnTo>
                  <a:lnTo>
                    <a:pt x="557" y="57"/>
                  </a:lnTo>
                  <a:lnTo>
                    <a:pt x="546" y="57"/>
                  </a:lnTo>
                  <a:lnTo>
                    <a:pt x="535" y="48"/>
                  </a:lnTo>
                  <a:lnTo>
                    <a:pt x="524" y="38"/>
                  </a:lnTo>
                  <a:lnTo>
                    <a:pt x="524" y="28"/>
                  </a:lnTo>
                  <a:lnTo>
                    <a:pt x="514" y="19"/>
                  </a:lnTo>
                  <a:lnTo>
                    <a:pt x="502" y="9"/>
                  </a:lnTo>
                  <a:lnTo>
                    <a:pt x="482" y="9"/>
                  </a:lnTo>
                  <a:lnTo>
                    <a:pt x="472" y="9"/>
                  </a:lnTo>
                  <a:lnTo>
                    <a:pt x="460" y="9"/>
                  </a:lnTo>
                  <a:lnTo>
                    <a:pt x="449" y="9"/>
                  </a:lnTo>
                  <a:lnTo>
                    <a:pt x="439" y="0"/>
                  </a:lnTo>
                  <a:lnTo>
                    <a:pt x="429" y="0"/>
                  </a:lnTo>
                  <a:lnTo>
                    <a:pt x="429" y="9"/>
                  </a:lnTo>
                  <a:lnTo>
                    <a:pt x="407" y="19"/>
                  </a:lnTo>
                  <a:lnTo>
                    <a:pt x="396" y="19"/>
                  </a:lnTo>
                  <a:lnTo>
                    <a:pt x="385" y="19"/>
                  </a:lnTo>
                  <a:lnTo>
                    <a:pt x="385" y="9"/>
                  </a:lnTo>
                  <a:lnTo>
                    <a:pt x="385" y="0"/>
                  </a:lnTo>
                  <a:lnTo>
                    <a:pt x="374" y="0"/>
                  </a:lnTo>
                  <a:lnTo>
                    <a:pt x="362" y="0"/>
                  </a:lnTo>
                  <a:lnTo>
                    <a:pt x="362" y="9"/>
                  </a:lnTo>
                  <a:lnTo>
                    <a:pt x="362" y="19"/>
                  </a:lnTo>
                  <a:lnTo>
                    <a:pt x="362" y="28"/>
                  </a:lnTo>
                  <a:lnTo>
                    <a:pt x="353" y="28"/>
                  </a:lnTo>
                  <a:lnTo>
                    <a:pt x="342" y="19"/>
                  </a:lnTo>
                  <a:lnTo>
                    <a:pt x="333" y="28"/>
                  </a:lnTo>
                  <a:lnTo>
                    <a:pt x="321" y="38"/>
                  </a:lnTo>
                  <a:lnTo>
                    <a:pt x="333" y="48"/>
                  </a:lnTo>
                  <a:lnTo>
                    <a:pt x="321" y="57"/>
                  </a:lnTo>
                  <a:lnTo>
                    <a:pt x="311" y="48"/>
                  </a:lnTo>
                  <a:lnTo>
                    <a:pt x="299" y="48"/>
                  </a:lnTo>
                  <a:lnTo>
                    <a:pt x="289" y="48"/>
                  </a:lnTo>
                  <a:lnTo>
                    <a:pt x="278" y="48"/>
                  </a:lnTo>
                  <a:lnTo>
                    <a:pt x="278" y="38"/>
                  </a:lnTo>
                  <a:lnTo>
                    <a:pt x="267" y="28"/>
                  </a:lnTo>
                  <a:lnTo>
                    <a:pt x="258" y="28"/>
                  </a:lnTo>
                  <a:lnTo>
                    <a:pt x="258" y="38"/>
                  </a:lnTo>
                  <a:lnTo>
                    <a:pt x="258" y="57"/>
                  </a:lnTo>
                  <a:lnTo>
                    <a:pt x="246" y="57"/>
                  </a:lnTo>
                  <a:lnTo>
                    <a:pt x="236" y="68"/>
                  </a:lnTo>
                  <a:lnTo>
                    <a:pt x="224" y="77"/>
                  </a:lnTo>
                  <a:lnTo>
                    <a:pt x="224" y="87"/>
                  </a:lnTo>
                  <a:lnTo>
                    <a:pt x="215" y="77"/>
                  </a:lnTo>
                  <a:lnTo>
                    <a:pt x="203" y="68"/>
                  </a:lnTo>
                  <a:lnTo>
                    <a:pt x="193" y="57"/>
                  </a:lnTo>
                  <a:lnTo>
                    <a:pt x="193" y="48"/>
                  </a:lnTo>
                  <a:lnTo>
                    <a:pt x="193" y="38"/>
                  </a:lnTo>
                  <a:lnTo>
                    <a:pt x="183" y="28"/>
                  </a:lnTo>
                  <a:lnTo>
                    <a:pt x="171" y="28"/>
                  </a:lnTo>
                  <a:lnTo>
                    <a:pt x="160" y="38"/>
                  </a:lnTo>
                  <a:lnTo>
                    <a:pt x="160" y="48"/>
                  </a:lnTo>
                  <a:lnTo>
                    <a:pt x="149" y="68"/>
                  </a:lnTo>
                  <a:lnTo>
                    <a:pt x="138" y="68"/>
                  </a:lnTo>
                  <a:lnTo>
                    <a:pt x="118" y="68"/>
                  </a:lnTo>
                  <a:lnTo>
                    <a:pt x="106" y="57"/>
                  </a:lnTo>
                  <a:lnTo>
                    <a:pt x="63" y="68"/>
                  </a:lnTo>
                  <a:lnTo>
                    <a:pt x="55" y="53"/>
                  </a:lnTo>
                  <a:lnTo>
                    <a:pt x="53" y="77"/>
                  </a:lnTo>
                  <a:lnTo>
                    <a:pt x="43" y="77"/>
                  </a:lnTo>
                  <a:lnTo>
                    <a:pt x="43" y="87"/>
                  </a:lnTo>
                  <a:lnTo>
                    <a:pt x="53" y="97"/>
                  </a:lnTo>
                  <a:lnTo>
                    <a:pt x="53" y="107"/>
                  </a:lnTo>
                  <a:lnTo>
                    <a:pt x="63" y="115"/>
                  </a:lnTo>
                  <a:lnTo>
                    <a:pt x="53" y="125"/>
                  </a:lnTo>
                  <a:lnTo>
                    <a:pt x="43" y="134"/>
                  </a:lnTo>
                  <a:lnTo>
                    <a:pt x="31" y="144"/>
                  </a:lnTo>
                  <a:lnTo>
                    <a:pt x="22" y="144"/>
                  </a:lnTo>
                  <a:lnTo>
                    <a:pt x="10" y="144"/>
                  </a:lnTo>
                  <a:lnTo>
                    <a:pt x="0" y="144"/>
                  </a:lnTo>
                  <a:lnTo>
                    <a:pt x="0" y="154"/>
                  </a:lnTo>
                  <a:lnTo>
                    <a:pt x="10" y="164"/>
                  </a:lnTo>
                  <a:lnTo>
                    <a:pt x="22" y="164"/>
                  </a:lnTo>
                  <a:lnTo>
                    <a:pt x="31" y="173"/>
                  </a:lnTo>
                  <a:lnTo>
                    <a:pt x="31" y="182"/>
                  </a:lnTo>
                  <a:lnTo>
                    <a:pt x="31" y="193"/>
                  </a:lnTo>
                  <a:lnTo>
                    <a:pt x="22" y="201"/>
                  </a:lnTo>
                  <a:lnTo>
                    <a:pt x="22" y="212"/>
                  </a:lnTo>
                  <a:lnTo>
                    <a:pt x="22" y="232"/>
                  </a:lnTo>
                  <a:lnTo>
                    <a:pt x="22" y="241"/>
                  </a:lnTo>
                  <a:lnTo>
                    <a:pt x="31" y="260"/>
                  </a:lnTo>
                  <a:lnTo>
                    <a:pt x="43" y="260"/>
                  </a:lnTo>
                  <a:lnTo>
                    <a:pt x="63" y="260"/>
                  </a:lnTo>
                  <a:lnTo>
                    <a:pt x="74" y="271"/>
                  </a:lnTo>
                  <a:lnTo>
                    <a:pt x="63" y="280"/>
                  </a:lnTo>
                  <a:lnTo>
                    <a:pt x="63" y="289"/>
                  </a:lnTo>
                  <a:lnTo>
                    <a:pt x="53" y="298"/>
                  </a:lnTo>
                  <a:lnTo>
                    <a:pt x="43" y="308"/>
                  </a:lnTo>
                  <a:lnTo>
                    <a:pt x="43" y="308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94" name="Freeform 74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5614988" y="3067051"/>
              <a:ext cx="406400" cy="255588"/>
            </a:xfrm>
            <a:custGeom>
              <a:avLst/>
              <a:gdLst>
                <a:gd name="T0" fmla="*/ 130 w 413"/>
                <a:gd name="T1" fmla="*/ 256 h 314"/>
                <a:gd name="T2" fmla="*/ 155 w 413"/>
                <a:gd name="T3" fmla="*/ 256 h 314"/>
                <a:gd name="T4" fmla="*/ 173 w 413"/>
                <a:gd name="T5" fmla="*/ 242 h 314"/>
                <a:gd name="T6" fmla="*/ 213 w 413"/>
                <a:gd name="T7" fmla="*/ 256 h 314"/>
                <a:gd name="T8" fmla="*/ 227 w 413"/>
                <a:gd name="T9" fmla="*/ 285 h 314"/>
                <a:gd name="T10" fmla="*/ 271 w 413"/>
                <a:gd name="T11" fmla="*/ 285 h 314"/>
                <a:gd name="T12" fmla="*/ 314 w 413"/>
                <a:gd name="T13" fmla="*/ 299 h 314"/>
                <a:gd name="T14" fmla="*/ 343 w 413"/>
                <a:gd name="T15" fmla="*/ 299 h 314"/>
                <a:gd name="T16" fmla="*/ 386 w 413"/>
                <a:gd name="T17" fmla="*/ 270 h 314"/>
                <a:gd name="T18" fmla="*/ 357 w 413"/>
                <a:gd name="T19" fmla="*/ 256 h 314"/>
                <a:gd name="T20" fmla="*/ 370 w 413"/>
                <a:gd name="T21" fmla="*/ 227 h 314"/>
                <a:gd name="T22" fmla="*/ 399 w 413"/>
                <a:gd name="T23" fmla="*/ 256 h 314"/>
                <a:gd name="T24" fmla="*/ 413 w 413"/>
                <a:gd name="T25" fmla="*/ 227 h 314"/>
                <a:gd name="T26" fmla="*/ 370 w 413"/>
                <a:gd name="T27" fmla="*/ 202 h 314"/>
                <a:gd name="T28" fmla="*/ 357 w 413"/>
                <a:gd name="T29" fmla="*/ 142 h 314"/>
                <a:gd name="T30" fmla="*/ 357 w 413"/>
                <a:gd name="T31" fmla="*/ 101 h 314"/>
                <a:gd name="T32" fmla="*/ 386 w 413"/>
                <a:gd name="T33" fmla="*/ 58 h 314"/>
                <a:gd name="T34" fmla="*/ 370 w 413"/>
                <a:gd name="T35" fmla="*/ 16 h 314"/>
                <a:gd name="T36" fmla="*/ 299 w 413"/>
                <a:gd name="T37" fmla="*/ 16 h 314"/>
                <a:gd name="T38" fmla="*/ 271 w 413"/>
                <a:gd name="T39" fmla="*/ 0 h 314"/>
                <a:gd name="T40" fmla="*/ 227 w 413"/>
                <a:gd name="T41" fmla="*/ 16 h 314"/>
                <a:gd name="T42" fmla="*/ 198 w 413"/>
                <a:gd name="T43" fmla="*/ 0 h 314"/>
                <a:gd name="T44" fmla="*/ 173 w 413"/>
                <a:gd name="T45" fmla="*/ 0 h 314"/>
                <a:gd name="T46" fmla="*/ 142 w 413"/>
                <a:gd name="T47" fmla="*/ 16 h 314"/>
                <a:gd name="T48" fmla="*/ 101 w 413"/>
                <a:gd name="T49" fmla="*/ 16 h 314"/>
                <a:gd name="T50" fmla="*/ 70 w 413"/>
                <a:gd name="T51" fmla="*/ 16 h 314"/>
                <a:gd name="T52" fmla="*/ 56 w 413"/>
                <a:gd name="T53" fmla="*/ 29 h 314"/>
                <a:gd name="T54" fmla="*/ 43 w 413"/>
                <a:gd name="T55" fmla="*/ 45 h 314"/>
                <a:gd name="T56" fmla="*/ 14 w 413"/>
                <a:gd name="T57" fmla="*/ 45 h 314"/>
                <a:gd name="T58" fmla="*/ 0 w 413"/>
                <a:gd name="T59" fmla="*/ 72 h 314"/>
                <a:gd name="T60" fmla="*/ 0 w 413"/>
                <a:gd name="T61" fmla="*/ 101 h 314"/>
                <a:gd name="T62" fmla="*/ 29 w 413"/>
                <a:gd name="T63" fmla="*/ 114 h 314"/>
                <a:gd name="T64" fmla="*/ 14 w 413"/>
                <a:gd name="T65" fmla="*/ 128 h 314"/>
                <a:gd name="T66" fmla="*/ 14 w 413"/>
                <a:gd name="T67" fmla="*/ 186 h 314"/>
                <a:gd name="T68" fmla="*/ 56 w 413"/>
                <a:gd name="T69" fmla="*/ 213 h 314"/>
                <a:gd name="T70" fmla="*/ 70 w 413"/>
                <a:gd name="T71" fmla="*/ 186 h 314"/>
                <a:gd name="T72" fmla="*/ 101 w 413"/>
                <a:gd name="T73" fmla="*/ 202 h 314"/>
                <a:gd name="T74" fmla="*/ 85 w 413"/>
                <a:gd name="T75" fmla="*/ 256 h 314"/>
                <a:gd name="T76" fmla="*/ 70 w 413"/>
                <a:gd name="T77" fmla="*/ 270 h 314"/>
                <a:gd name="T78" fmla="*/ 70 w 413"/>
                <a:gd name="T79" fmla="*/ 27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3" h="314">
                  <a:moveTo>
                    <a:pt x="70" y="270"/>
                  </a:moveTo>
                  <a:lnTo>
                    <a:pt x="130" y="256"/>
                  </a:lnTo>
                  <a:lnTo>
                    <a:pt x="142" y="242"/>
                  </a:lnTo>
                  <a:lnTo>
                    <a:pt x="155" y="256"/>
                  </a:lnTo>
                  <a:lnTo>
                    <a:pt x="173" y="256"/>
                  </a:lnTo>
                  <a:lnTo>
                    <a:pt x="173" y="242"/>
                  </a:lnTo>
                  <a:lnTo>
                    <a:pt x="198" y="256"/>
                  </a:lnTo>
                  <a:lnTo>
                    <a:pt x="213" y="256"/>
                  </a:lnTo>
                  <a:lnTo>
                    <a:pt x="213" y="270"/>
                  </a:lnTo>
                  <a:lnTo>
                    <a:pt x="227" y="285"/>
                  </a:lnTo>
                  <a:lnTo>
                    <a:pt x="244" y="285"/>
                  </a:lnTo>
                  <a:lnTo>
                    <a:pt x="271" y="285"/>
                  </a:lnTo>
                  <a:lnTo>
                    <a:pt x="285" y="314"/>
                  </a:lnTo>
                  <a:lnTo>
                    <a:pt x="314" y="299"/>
                  </a:lnTo>
                  <a:lnTo>
                    <a:pt x="343" y="285"/>
                  </a:lnTo>
                  <a:lnTo>
                    <a:pt x="343" y="299"/>
                  </a:lnTo>
                  <a:lnTo>
                    <a:pt x="370" y="299"/>
                  </a:lnTo>
                  <a:lnTo>
                    <a:pt x="386" y="270"/>
                  </a:lnTo>
                  <a:lnTo>
                    <a:pt x="370" y="270"/>
                  </a:lnTo>
                  <a:lnTo>
                    <a:pt x="357" y="256"/>
                  </a:lnTo>
                  <a:lnTo>
                    <a:pt x="357" y="242"/>
                  </a:lnTo>
                  <a:lnTo>
                    <a:pt x="370" y="227"/>
                  </a:lnTo>
                  <a:lnTo>
                    <a:pt x="386" y="242"/>
                  </a:lnTo>
                  <a:lnTo>
                    <a:pt x="399" y="256"/>
                  </a:lnTo>
                  <a:lnTo>
                    <a:pt x="413" y="242"/>
                  </a:lnTo>
                  <a:lnTo>
                    <a:pt x="413" y="227"/>
                  </a:lnTo>
                  <a:lnTo>
                    <a:pt x="399" y="213"/>
                  </a:lnTo>
                  <a:lnTo>
                    <a:pt x="370" y="202"/>
                  </a:lnTo>
                  <a:lnTo>
                    <a:pt x="370" y="169"/>
                  </a:lnTo>
                  <a:lnTo>
                    <a:pt x="357" y="142"/>
                  </a:lnTo>
                  <a:lnTo>
                    <a:pt x="370" y="114"/>
                  </a:lnTo>
                  <a:lnTo>
                    <a:pt x="357" y="101"/>
                  </a:lnTo>
                  <a:lnTo>
                    <a:pt x="357" y="85"/>
                  </a:lnTo>
                  <a:lnTo>
                    <a:pt x="386" y="58"/>
                  </a:lnTo>
                  <a:lnTo>
                    <a:pt x="386" y="29"/>
                  </a:lnTo>
                  <a:lnTo>
                    <a:pt x="370" y="16"/>
                  </a:lnTo>
                  <a:lnTo>
                    <a:pt x="357" y="16"/>
                  </a:lnTo>
                  <a:lnTo>
                    <a:pt x="299" y="16"/>
                  </a:lnTo>
                  <a:lnTo>
                    <a:pt x="285" y="16"/>
                  </a:lnTo>
                  <a:lnTo>
                    <a:pt x="271" y="0"/>
                  </a:lnTo>
                  <a:lnTo>
                    <a:pt x="256" y="0"/>
                  </a:lnTo>
                  <a:lnTo>
                    <a:pt x="227" y="16"/>
                  </a:lnTo>
                  <a:lnTo>
                    <a:pt x="227" y="0"/>
                  </a:lnTo>
                  <a:lnTo>
                    <a:pt x="198" y="0"/>
                  </a:lnTo>
                  <a:lnTo>
                    <a:pt x="186" y="0"/>
                  </a:lnTo>
                  <a:lnTo>
                    <a:pt x="173" y="0"/>
                  </a:lnTo>
                  <a:lnTo>
                    <a:pt x="155" y="0"/>
                  </a:lnTo>
                  <a:lnTo>
                    <a:pt x="142" y="16"/>
                  </a:lnTo>
                  <a:lnTo>
                    <a:pt x="130" y="16"/>
                  </a:lnTo>
                  <a:lnTo>
                    <a:pt x="101" y="16"/>
                  </a:lnTo>
                  <a:lnTo>
                    <a:pt x="85" y="16"/>
                  </a:lnTo>
                  <a:lnTo>
                    <a:pt x="70" y="16"/>
                  </a:lnTo>
                  <a:lnTo>
                    <a:pt x="56" y="16"/>
                  </a:lnTo>
                  <a:lnTo>
                    <a:pt x="56" y="29"/>
                  </a:lnTo>
                  <a:lnTo>
                    <a:pt x="56" y="45"/>
                  </a:lnTo>
                  <a:lnTo>
                    <a:pt x="43" y="45"/>
                  </a:lnTo>
                  <a:lnTo>
                    <a:pt x="29" y="45"/>
                  </a:lnTo>
                  <a:lnTo>
                    <a:pt x="14" y="45"/>
                  </a:lnTo>
                  <a:lnTo>
                    <a:pt x="0" y="58"/>
                  </a:lnTo>
                  <a:lnTo>
                    <a:pt x="0" y="72"/>
                  </a:lnTo>
                  <a:lnTo>
                    <a:pt x="0" y="85"/>
                  </a:lnTo>
                  <a:lnTo>
                    <a:pt x="0" y="101"/>
                  </a:lnTo>
                  <a:lnTo>
                    <a:pt x="29" y="101"/>
                  </a:lnTo>
                  <a:lnTo>
                    <a:pt x="29" y="114"/>
                  </a:lnTo>
                  <a:lnTo>
                    <a:pt x="29" y="128"/>
                  </a:lnTo>
                  <a:lnTo>
                    <a:pt x="14" y="128"/>
                  </a:lnTo>
                  <a:lnTo>
                    <a:pt x="14" y="142"/>
                  </a:lnTo>
                  <a:lnTo>
                    <a:pt x="14" y="186"/>
                  </a:lnTo>
                  <a:lnTo>
                    <a:pt x="43" y="213"/>
                  </a:lnTo>
                  <a:lnTo>
                    <a:pt x="56" y="213"/>
                  </a:lnTo>
                  <a:lnTo>
                    <a:pt x="56" y="202"/>
                  </a:lnTo>
                  <a:lnTo>
                    <a:pt x="70" y="186"/>
                  </a:lnTo>
                  <a:lnTo>
                    <a:pt x="85" y="186"/>
                  </a:lnTo>
                  <a:lnTo>
                    <a:pt x="101" y="202"/>
                  </a:lnTo>
                  <a:lnTo>
                    <a:pt x="85" y="227"/>
                  </a:lnTo>
                  <a:lnTo>
                    <a:pt x="85" y="256"/>
                  </a:lnTo>
                  <a:lnTo>
                    <a:pt x="85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0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95" name="Freeform 75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5403850" y="3263901"/>
              <a:ext cx="647700" cy="277813"/>
            </a:xfrm>
            <a:custGeom>
              <a:avLst/>
              <a:gdLst>
                <a:gd name="T0" fmla="*/ 287 w 659"/>
                <a:gd name="T1" fmla="*/ 57 h 342"/>
                <a:gd name="T2" fmla="*/ 287 w 659"/>
                <a:gd name="T3" fmla="*/ 101 h 342"/>
                <a:gd name="T4" fmla="*/ 287 w 659"/>
                <a:gd name="T5" fmla="*/ 144 h 342"/>
                <a:gd name="T6" fmla="*/ 258 w 659"/>
                <a:gd name="T7" fmla="*/ 171 h 342"/>
                <a:gd name="T8" fmla="*/ 215 w 659"/>
                <a:gd name="T9" fmla="*/ 144 h 342"/>
                <a:gd name="T10" fmla="*/ 200 w 659"/>
                <a:gd name="T11" fmla="*/ 101 h 342"/>
                <a:gd name="T12" fmla="*/ 157 w 659"/>
                <a:gd name="T13" fmla="*/ 72 h 342"/>
                <a:gd name="T14" fmla="*/ 145 w 659"/>
                <a:gd name="T15" fmla="*/ 43 h 342"/>
                <a:gd name="T16" fmla="*/ 87 w 659"/>
                <a:gd name="T17" fmla="*/ 57 h 342"/>
                <a:gd name="T18" fmla="*/ 58 w 659"/>
                <a:gd name="T19" fmla="*/ 72 h 342"/>
                <a:gd name="T20" fmla="*/ 44 w 659"/>
                <a:gd name="T21" fmla="*/ 130 h 342"/>
                <a:gd name="T22" fmla="*/ 15 w 659"/>
                <a:gd name="T23" fmla="*/ 185 h 342"/>
                <a:gd name="T24" fmla="*/ 44 w 659"/>
                <a:gd name="T25" fmla="*/ 256 h 342"/>
                <a:gd name="T26" fmla="*/ 87 w 659"/>
                <a:gd name="T27" fmla="*/ 241 h 342"/>
                <a:gd name="T28" fmla="*/ 116 w 659"/>
                <a:gd name="T29" fmla="*/ 241 h 342"/>
                <a:gd name="T30" fmla="*/ 172 w 659"/>
                <a:gd name="T31" fmla="*/ 241 h 342"/>
                <a:gd name="T32" fmla="*/ 244 w 659"/>
                <a:gd name="T33" fmla="*/ 227 h 342"/>
                <a:gd name="T34" fmla="*/ 316 w 659"/>
                <a:gd name="T35" fmla="*/ 227 h 342"/>
                <a:gd name="T36" fmla="*/ 357 w 659"/>
                <a:gd name="T37" fmla="*/ 256 h 342"/>
                <a:gd name="T38" fmla="*/ 415 w 659"/>
                <a:gd name="T39" fmla="*/ 270 h 342"/>
                <a:gd name="T40" fmla="*/ 473 w 659"/>
                <a:gd name="T41" fmla="*/ 328 h 342"/>
                <a:gd name="T42" fmla="*/ 529 w 659"/>
                <a:gd name="T43" fmla="*/ 342 h 342"/>
                <a:gd name="T44" fmla="*/ 558 w 659"/>
                <a:gd name="T45" fmla="*/ 342 h 342"/>
                <a:gd name="T46" fmla="*/ 585 w 659"/>
                <a:gd name="T47" fmla="*/ 342 h 342"/>
                <a:gd name="T48" fmla="*/ 628 w 659"/>
                <a:gd name="T49" fmla="*/ 313 h 342"/>
                <a:gd name="T50" fmla="*/ 601 w 659"/>
                <a:gd name="T51" fmla="*/ 286 h 342"/>
                <a:gd name="T52" fmla="*/ 657 w 659"/>
                <a:gd name="T53" fmla="*/ 256 h 342"/>
                <a:gd name="T54" fmla="*/ 644 w 659"/>
                <a:gd name="T55" fmla="*/ 227 h 342"/>
                <a:gd name="T56" fmla="*/ 630 w 659"/>
                <a:gd name="T57" fmla="*/ 171 h 342"/>
                <a:gd name="T58" fmla="*/ 616 w 659"/>
                <a:gd name="T59" fmla="*/ 158 h 342"/>
                <a:gd name="T60" fmla="*/ 587 w 659"/>
                <a:gd name="T61" fmla="*/ 130 h 342"/>
                <a:gd name="T62" fmla="*/ 616 w 659"/>
                <a:gd name="T63" fmla="*/ 101 h 342"/>
                <a:gd name="T64" fmla="*/ 603 w 659"/>
                <a:gd name="T65" fmla="*/ 72 h 342"/>
                <a:gd name="T66" fmla="*/ 587 w 659"/>
                <a:gd name="T67" fmla="*/ 72 h 342"/>
                <a:gd name="T68" fmla="*/ 574 w 659"/>
                <a:gd name="T69" fmla="*/ 57 h 342"/>
                <a:gd name="T70" fmla="*/ 558 w 659"/>
                <a:gd name="T71" fmla="*/ 57 h 342"/>
                <a:gd name="T72" fmla="*/ 529 w 659"/>
                <a:gd name="T73" fmla="*/ 57 h 342"/>
                <a:gd name="T74" fmla="*/ 485 w 659"/>
                <a:gd name="T75" fmla="*/ 43 h 342"/>
                <a:gd name="T76" fmla="*/ 444 w 659"/>
                <a:gd name="T77" fmla="*/ 43 h 342"/>
                <a:gd name="T78" fmla="*/ 428 w 659"/>
                <a:gd name="T79" fmla="*/ 14 h 342"/>
                <a:gd name="T80" fmla="*/ 388 w 659"/>
                <a:gd name="T81" fmla="*/ 0 h 342"/>
                <a:gd name="T82" fmla="*/ 372 w 659"/>
                <a:gd name="T83" fmla="*/ 14 h 342"/>
                <a:gd name="T84" fmla="*/ 343 w 659"/>
                <a:gd name="T85" fmla="*/ 14 h 342"/>
                <a:gd name="T86" fmla="*/ 287 w 659"/>
                <a:gd name="T87" fmla="*/ 43 h 342"/>
                <a:gd name="T88" fmla="*/ 287 w 659"/>
                <a:gd name="T89" fmla="*/ 4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9" h="342">
                  <a:moveTo>
                    <a:pt x="287" y="43"/>
                  </a:moveTo>
                  <a:lnTo>
                    <a:pt x="287" y="57"/>
                  </a:lnTo>
                  <a:lnTo>
                    <a:pt x="287" y="72"/>
                  </a:lnTo>
                  <a:lnTo>
                    <a:pt x="287" y="101"/>
                  </a:lnTo>
                  <a:lnTo>
                    <a:pt x="287" y="115"/>
                  </a:lnTo>
                  <a:lnTo>
                    <a:pt x="287" y="144"/>
                  </a:lnTo>
                  <a:lnTo>
                    <a:pt x="271" y="158"/>
                  </a:lnTo>
                  <a:lnTo>
                    <a:pt x="258" y="171"/>
                  </a:lnTo>
                  <a:lnTo>
                    <a:pt x="244" y="171"/>
                  </a:lnTo>
                  <a:lnTo>
                    <a:pt x="215" y="144"/>
                  </a:lnTo>
                  <a:lnTo>
                    <a:pt x="200" y="130"/>
                  </a:lnTo>
                  <a:lnTo>
                    <a:pt x="200" y="101"/>
                  </a:lnTo>
                  <a:lnTo>
                    <a:pt x="172" y="72"/>
                  </a:lnTo>
                  <a:lnTo>
                    <a:pt x="157" y="72"/>
                  </a:lnTo>
                  <a:lnTo>
                    <a:pt x="145" y="57"/>
                  </a:lnTo>
                  <a:lnTo>
                    <a:pt x="145" y="43"/>
                  </a:lnTo>
                  <a:lnTo>
                    <a:pt x="116" y="43"/>
                  </a:lnTo>
                  <a:lnTo>
                    <a:pt x="87" y="57"/>
                  </a:lnTo>
                  <a:lnTo>
                    <a:pt x="72" y="72"/>
                  </a:lnTo>
                  <a:lnTo>
                    <a:pt x="58" y="72"/>
                  </a:lnTo>
                  <a:lnTo>
                    <a:pt x="44" y="101"/>
                  </a:lnTo>
                  <a:lnTo>
                    <a:pt x="44" y="130"/>
                  </a:lnTo>
                  <a:lnTo>
                    <a:pt x="31" y="158"/>
                  </a:lnTo>
                  <a:lnTo>
                    <a:pt x="15" y="185"/>
                  </a:lnTo>
                  <a:lnTo>
                    <a:pt x="0" y="270"/>
                  </a:lnTo>
                  <a:lnTo>
                    <a:pt x="44" y="256"/>
                  </a:lnTo>
                  <a:lnTo>
                    <a:pt x="72" y="256"/>
                  </a:lnTo>
                  <a:lnTo>
                    <a:pt x="87" y="241"/>
                  </a:lnTo>
                  <a:lnTo>
                    <a:pt x="101" y="241"/>
                  </a:lnTo>
                  <a:lnTo>
                    <a:pt x="116" y="241"/>
                  </a:lnTo>
                  <a:lnTo>
                    <a:pt x="157" y="241"/>
                  </a:lnTo>
                  <a:lnTo>
                    <a:pt x="172" y="241"/>
                  </a:lnTo>
                  <a:lnTo>
                    <a:pt x="200" y="227"/>
                  </a:lnTo>
                  <a:lnTo>
                    <a:pt x="244" y="227"/>
                  </a:lnTo>
                  <a:lnTo>
                    <a:pt x="287" y="241"/>
                  </a:lnTo>
                  <a:lnTo>
                    <a:pt x="316" y="227"/>
                  </a:lnTo>
                  <a:lnTo>
                    <a:pt x="329" y="241"/>
                  </a:lnTo>
                  <a:lnTo>
                    <a:pt x="357" y="256"/>
                  </a:lnTo>
                  <a:lnTo>
                    <a:pt x="401" y="270"/>
                  </a:lnTo>
                  <a:lnTo>
                    <a:pt x="415" y="270"/>
                  </a:lnTo>
                  <a:lnTo>
                    <a:pt x="428" y="299"/>
                  </a:lnTo>
                  <a:lnTo>
                    <a:pt x="473" y="328"/>
                  </a:lnTo>
                  <a:lnTo>
                    <a:pt x="485" y="342"/>
                  </a:lnTo>
                  <a:lnTo>
                    <a:pt x="529" y="342"/>
                  </a:lnTo>
                  <a:lnTo>
                    <a:pt x="545" y="342"/>
                  </a:lnTo>
                  <a:lnTo>
                    <a:pt x="558" y="342"/>
                  </a:lnTo>
                  <a:lnTo>
                    <a:pt x="572" y="328"/>
                  </a:lnTo>
                  <a:lnTo>
                    <a:pt x="585" y="342"/>
                  </a:lnTo>
                  <a:lnTo>
                    <a:pt x="616" y="328"/>
                  </a:lnTo>
                  <a:lnTo>
                    <a:pt x="628" y="313"/>
                  </a:lnTo>
                  <a:lnTo>
                    <a:pt x="616" y="299"/>
                  </a:lnTo>
                  <a:lnTo>
                    <a:pt x="601" y="286"/>
                  </a:lnTo>
                  <a:lnTo>
                    <a:pt x="628" y="270"/>
                  </a:lnTo>
                  <a:lnTo>
                    <a:pt x="657" y="256"/>
                  </a:lnTo>
                  <a:lnTo>
                    <a:pt x="659" y="256"/>
                  </a:lnTo>
                  <a:lnTo>
                    <a:pt x="644" y="227"/>
                  </a:lnTo>
                  <a:lnTo>
                    <a:pt x="644" y="198"/>
                  </a:lnTo>
                  <a:lnTo>
                    <a:pt x="630" y="171"/>
                  </a:lnTo>
                  <a:lnTo>
                    <a:pt x="630" y="158"/>
                  </a:lnTo>
                  <a:lnTo>
                    <a:pt x="616" y="158"/>
                  </a:lnTo>
                  <a:lnTo>
                    <a:pt x="603" y="158"/>
                  </a:lnTo>
                  <a:lnTo>
                    <a:pt x="587" y="130"/>
                  </a:lnTo>
                  <a:lnTo>
                    <a:pt x="616" y="130"/>
                  </a:lnTo>
                  <a:lnTo>
                    <a:pt x="616" y="101"/>
                  </a:lnTo>
                  <a:lnTo>
                    <a:pt x="616" y="72"/>
                  </a:lnTo>
                  <a:lnTo>
                    <a:pt x="603" y="72"/>
                  </a:lnTo>
                  <a:lnTo>
                    <a:pt x="587" y="84"/>
                  </a:lnTo>
                  <a:lnTo>
                    <a:pt x="587" y="72"/>
                  </a:lnTo>
                  <a:lnTo>
                    <a:pt x="574" y="72"/>
                  </a:lnTo>
                  <a:lnTo>
                    <a:pt x="574" y="57"/>
                  </a:lnTo>
                  <a:lnTo>
                    <a:pt x="585" y="57"/>
                  </a:lnTo>
                  <a:lnTo>
                    <a:pt x="558" y="57"/>
                  </a:lnTo>
                  <a:lnTo>
                    <a:pt x="558" y="43"/>
                  </a:lnTo>
                  <a:lnTo>
                    <a:pt x="529" y="57"/>
                  </a:lnTo>
                  <a:lnTo>
                    <a:pt x="500" y="72"/>
                  </a:lnTo>
                  <a:lnTo>
                    <a:pt x="485" y="43"/>
                  </a:lnTo>
                  <a:lnTo>
                    <a:pt x="459" y="43"/>
                  </a:lnTo>
                  <a:lnTo>
                    <a:pt x="444" y="43"/>
                  </a:lnTo>
                  <a:lnTo>
                    <a:pt x="428" y="28"/>
                  </a:lnTo>
                  <a:lnTo>
                    <a:pt x="428" y="14"/>
                  </a:lnTo>
                  <a:lnTo>
                    <a:pt x="415" y="14"/>
                  </a:lnTo>
                  <a:lnTo>
                    <a:pt x="388" y="0"/>
                  </a:lnTo>
                  <a:lnTo>
                    <a:pt x="388" y="14"/>
                  </a:lnTo>
                  <a:lnTo>
                    <a:pt x="372" y="14"/>
                  </a:lnTo>
                  <a:lnTo>
                    <a:pt x="357" y="0"/>
                  </a:lnTo>
                  <a:lnTo>
                    <a:pt x="343" y="14"/>
                  </a:lnTo>
                  <a:lnTo>
                    <a:pt x="287" y="28"/>
                  </a:lnTo>
                  <a:lnTo>
                    <a:pt x="287" y="43"/>
                  </a:lnTo>
                  <a:lnTo>
                    <a:pt x="287" y="43"/>
                  </a:lnTo>
                  <a:lnTo>
                    <a:pt x="287" y="43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96" name="Freeform 76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5400675" y="3449638"/>
              <a:ext cx="550863" cy="322263"/>
            </a:xfrm>
            <a:custGeom>
              <a:avLst/>
              <a:gdLst>
                <a:gd name="T0" fmla="*/ 374 w 417"/>
                <a:gd name="T1" fmla="*/ 113 h 265"/>
                <a:gd name="T2" fmla="*/ 395 w 417"/>
                <a:gd name="T3" fmla="*/ 143 h 265"/>
                <a:gd name="T4" fmla="*/ 367 w 417"/>
                <a:gd name="T5" fmla="*/ 153 h 265"/>
                <a:gd name="T6" fmla="*/ 320 w 417"/>
                <a:gd name="T7" fmla="*/ 171 h 265"/>
                <a:gd name="T8" fmla="*/ 320 w 417"/>
                <a:gd name="T9" fmla="*/ 207 h 265"/>
                <a:gd name="T10" fmla="*/ 300 w 417"/>
                <a:gd name="T11" fmla="*/ 227 h 265"/>
                <a:gd name="T12" fmla="*/ 290 w 417"/>
                <a:gd name="T13" fmla="*/ 227 h 265"/>
                <a:gd name="T14" fmla="*/ 256 w 417"/>
                <a:gd name="T15" fmla="*/ 237 h 265"/>
                <a:gd name="T16" fmla="*/ 242 w 417"/>
                <a:gd name="T17" fmla="*/ 258 h 265"/>
                <a:gd name="T18" fmla="*/ 203 w 417"/>
                <a:gd name="T19" fmla="*/ 265 h 265"/>
                <a:gd name="T20" fmla="*/ 182 w 417"/>
                <a:gd name="T21" fmla="*/ 256 h 265"/>
                <a:gd name="T22" fmla="*/ 129 w 417"/>
                <a:gd name="T23" fmla="*/ 227 h 265"/>
                <a:gd name="T24" fmla="*/ 117 w 417"/>
                <a:gd name="T25" fmla="*/ 216 h 265"/>
                <a:gd name="T26" fmla="*/ 129 w 417"/>
                <a:gd name="T27" fmla="*/ 198 h 265"/>
                <a:gd name="T28" fmla="*/ 129 w 417"/>
                <a:gd name="T29" fmla="*/ 179 h 265"/>
                <a:gd name="T30" fmla="*/ 117 w 417"/>
                <a:gd name="T31" fmla="*/ 161 h 265"/>
                <a:gd name="T32" fmla="*/ 97 w 417"/>
                <a:gd name="T33" fmla="*/ 152 h 265"/>
                <a:gd name="T34" fmla="*/ 87 w 417"/>
                <a:gd name="T35" fmla="*/ 161 h 265"/>
                <a:gd name="T36" fmla="*/ 54 w 417"/>
                <a:gd name="T37" fmla="*/ 152 h 265"/>
                <a:gd name="T38" fmla="*/ 33 w 417"/>
                <a:gd name="T39" fmla="*/ 143 h 265"/>
                <a:gd name="T40" fmla="*/ 11 w 417"/>
                <a:gd name="T41" fmla="*/ 134 h 265"/>
                <a:gd name="T42" fmla="*/ 0 w 417"/>
                <a:gd name="T43" fmla="*/ 76 h 265"/>
                <a:gd name="T44" fmla="*/ 0 w 417"/>
                <a:gd name="T45" fmla="*/ 57 h 265"/>
                <a:gd name="T46" fmla="*/ 1 w 417"/>
                <a:gd name="T47" fmla="*/ 28 h 265"/>
                <a:gd name="T48" fmla="*/ 55 w 417"/>
                <a:gd name="T49" fmla="*/ 19 h 265"/>
                <a:gd name="T50" fmla="*/ 77 w 417"/>
                <a:gd name="T51" fmla="*/ 9 h 265"/>
                <a:gd name="T52" fmla="*/ 120 w 417"/>
                <a:gd name="T53" fmla="*/ 9 h 265"/>
                <a:gd name="T54" fmla="*/ 150 w 417"/>
                <a:gd name="T55" fmla="*/ 0 h 265"/>
                <a:gd name="T56" fmla="*/ 214 w 417"/>
                <a:gd name="T57" fmla="*/ 9 h 265"/>
                <a:gd name="T58" fmla="*/ 247 w 417"/>
                <a:gd name="T59" fmla="*/ 9 h 265"/>
                <a:gd name="T60" fmla="*/ 301 w 417"/>
                <a:gd name="T61" fmla="*/ 28 h 265"/>
                <a:gd name="T62" fmla="*/ 321 w 417"/>
                <a:gd name="T63" fmla="*/ 48 h 265"/>
                <a:gd name="T64" fmla="*/ 365 w 417"/>
                <a:gd name="T65" fmla="*/ 76 h 265"/>
                <a:gd name="T66" fmla="*/ 395 w 417"/>
                <a:gd name="T67" fmla="*/ 76 h 265"/>
                <a:gd name="T68" fmla="*/ 395 w 417"/>
                <a:gd name="T69" fmla="*/ 7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7" h="265">
                  <a:moveTo>
                    <a:pt x="395" y="76"/>
                  </a:moveTo>
                  <a:lnTo>
                    <a:pt x="374" y="113"/>
                  </a:lnTo>
                  <a:lnTo>
                    <a:pt x="417" y="123"/>
                  </a:lnTo>
                  <a:lnTo>
                    <a:pt x="395" y="143"/>
                  </a:lnTo>
                  <a:lnTo>
                    <a:pt x="367" y="144"/>
                  </a:lnTo>
                  <a:lnTo>
                    <a:pt x="367" y="153"/>
                  </a:lnTo>
                  <a:lnTo>
                    <a:pt x="320" y="161"/>
                  </a:lnTo>
                  <a:lnTo>
                    <a:pt x="320" y="171"/>
                  </a:lnTo>
                  <a:lnTo>
                    <a:pt x="320" y="198"/>
                  </a:lnTo>
                  <a:lnTo>
                    <a:pt x="320" y="207"/>
                  </a:lnTo>
                  <a:lnTo>
                    <a:pt x="310" y="227"/>
                  </a:lnTo>
                  <a:lnTo>
                    <a:pt x="300" y="227"/>
                  </a:lnTo>
                  <a:lnTo>
                    <a:pt x="300" y="237"/>
                  </a:lnTo>
                  <a:lnTo>
                    <a:pt x="290" y="227"/>
                  </a:lnTo>
                  <a:lnTo>
                    <a:pt x="267" y="237"/>
                  </a:lnTo>
                  <a:lnTo>
                    <a:pt x="256" y="237"/>
                  </a:lnTo>
                  <a:lnTo>
                    <a:pt x="246" y="237"/>
                  </a:lnTo>
                  <a:lnTo>
                    <a:pt x="242" y="258"/>
                  </a:lnTo>
                  <a:lnTo>
                    <a:pt x="224" y="265"/>
                  </a:lnTo>
                  <a:lnTo>
                    <a:pt x="203" y="265"/>
                  </a:lnTo>
                  <a:lnTo>
                    <a:pt x="203" y="256"/>
                  </a:lnTo>
                  <a:lnTo>
                    <a:pt x="182" y="256"/>
                  </a:lnTo>
                  <a:lnTo>
                    <a:pt x="161" y="237"/>
                  </a:lnTo>
                  <a:lnTo>
                    <a:pt x="129" y="227"/>
                  </a:lnTo>
                  <a:lnTo>
                    <a:pt x="116" y="220"/>
                  </a:lnTo>
                  <a:lnTo>
                    <a:pt x="117" y="216"/>
                  </a:lnTo>
                  <a:lnTo>
                    <a:pt x="117" y="207"/>
                  </a:lnTo>
                  <a:lnTo>
                    <a:pt x="129" y="198"/>
                  </a:lnTo>
                  <a:lnTo>
                    <a:pt x="129" y="189"/>
                  </a:lnTo>
                  <a:lnTo>
                    <a:pt x="129" y="179"/>
                  </a:lnTo>
                  <a:lnTo>
                    <a:pt x="117" y="171"/>
                  </a:lnTo>
                  <a:lnTo>
                    <a:pt x="117" y="161"/>
                  </a:lnTo>
                  <a:lnTo>
                    <a:pt x="108" y="152"/>
                  </a:lnTo>
                  <a:lnTo>
                    <a:pt x="97" y="152"/>
                  </a:lnTo>
                  <a:lnTo>
                    <a:pt x="97" y="161"/>
                  </a:lnTo>
                  <a:lnTo>
                    <a:pt x="87" y="161"/>
                  </a:lnTo>
                  <a:lnTo>
                    <a:pt x="65" y="161"/>
                  </a:lnTo>
                  <a:lnTo>
                    <a:pt x="54" y="152"/>
                  </a:lnTo>
                  <a:lnTo>
                    <a:pt x="43" y="152"/>
                  </a:lnTo>
                  <a:lnTo>
                    <a:pt x="33" y="143"/>
                  </a:lnTo>
                  <a:lnTo>
                    <a:pt x="33" y="134"/>
                  </a:lnTo>
                  <a:lnTo>
                    <a:pt x="11" y="134"/>
                  </a:lnTo>
                  <a:lnTo>
                    <a:pt x="11" y="104"/>
                  </a:lnTo>
                  <a:lnTo>
                    <a:pt x="0" y="76"/>
                  </a:lnTo>
                  <a:lnTo>
                    <a:pt x="0" y="67"/>
                  </a:lnTo>
                  <a:lnTo>
                    <a:pt x="0" y="57"/>
                  </a:lnTo>
                  <a:lnTo>
                    <a:pt x="0" y="28"/>
                  </a:lnTo>
                  <a:lnTo>
                    <a:pt x="1" y="28"/>
                  </a:lnTo>
                  <a:lnTo>
                    <a:pt x="36" y="19"/>
                  </a:lnTo>
                  <a:lnTo>
                    <a:pt x="55" y="19"/>
                  </a:lnTo>
                  <a:lnTo>
                    <a:pt x="67" y="9"/>
                  </a:lnTo>
                  <a:lnTo>
                    <a:pt x="77" y="9"/>
                  </a:lnTo>
                  <a:lnTo>
                    <a:pt x="88" y="9"/>
                  </a:lnTo>
                  <a:lnTo>
                    <a:pt x="120" y="9"/>
                  </a:lnTo>
                  <a:lnTo>
                    <a:pt x="130" y="9"/>
                  </a:lnTo>
                  <a:lnTo>
                    <a:pt x="150" y="0"/>
                  </a:lnTo>
                  <a:lnTo>
                    <a:pt x="184" y="0"/>
                  </a:lnTo>
                  <a:lnTo>
                    <a:pt x="214" y="9"/>
                  </a:lnTo>
                  <a:lnTo>
                    <a:pt x="238" y="0"/>
                  </a:lnTo>
                  <a:lnTo>
                    <a:pt x="247" y="9"/>
                  </a:lnTo>
                  <a:lnTo>
                    <a:pt x="268" y="19"/>
                  </a:lnTo>
                  <a:lnTo>
                    <a:pt x="301" y="28"/>
                  </a:lnTo>
                  <a:lnTo>
                    <a:pt x="310" y="28"/>
                  </a:lnTo>
                  <a:lnTo>
                    <a:pt x="321" y="48"/>
                  </a:lnTo>
                  <a:lnTo>
                    <a:pt x="353" y="67"/>
                  </a:lnTo>
                  <a:lnTo>
                    <a:pt x="365" y="76"/>
                  </a:lnTo>
                  <a:lnTo>
                    <a:pt x="397" y="76"/>
                  </a:lnTo>
                  <a:lnTo>
                    <a:pt x="395" y="76"/>
                  </a:lnTo>
                  <a:lnTo>
                    <a:pt x="395" y="76"/>
                  </a:lnTo>
                  <a:lnTo>
                    <a:pt x="395" y="76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97" name="Freeform 77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627688" y="3470276"/>
              <a:ext cx="909638" cy="614363"/>
            </a:xfrm>
            <a:custGeom>
              <a:avLst/>
              <a:gdLst>
                <a:gd name="T0" fmla="*/ 22 w 689"/>
                <a:gd name="T1" fmla="*/ 460 h 505"/>
                <a:gd name="T2" fmla="*/ 11 w 689"/>
                <a:gd name="T3" fmla="*/ 441 h 505"/>
                <a:gd name="T4" fmla="*/ 22 w 689"/>
                <a:gd name="T5" fmla="*/ 411 h 505"/>
                <a:gd name="T6" fmla="*/ 53 w 689"/>
                <a:gd name="T7" fmla="*/ 373 h 505"/>
                <a:gd name="T8" fmla="*/ 53 w 689"/>
                <a:gd name="T9" fmla="*/ 337 h 505"/>
                <a:gd name="T10" fmla="*/ 22 w 689"/>
                <a:gd name="T11" fmla="*/ 306 h 505"/>
                <a:gd name="T12" fmla="*/ 9 w 689"/>
                <a:gd name="T13" fmla="*/ 236 h 505"/>
                <a:gd name="T14" fmla="*/ 33 w 689"/>
                <a:gd name="T15" fmla="*/ 249 h 505"/>
                <a:gd name="T16" fmla="*/ 76 w 689"/>
                <a:gd name="T17" fmla="*/ 220 h 505"/>
                <a:gd name="T18" fmla="*/ 96 w 689"/>
                <a:gd name="T19" fmla="*/ 220 h 505"/>
                <a:gd name="T20" fmla="*/ 129 w 689"/>
                <a:gd name="T21" fmla="*/ 210 h 505"/>
                <a:gd name="T22" fmla="*/ 149 w 689"/>
                <a:gd name="T23" fmla="*/ 181 h 505"/>
                <a:gd name="T24" fmla="*/ 192 w 689"/>
                <a:gd name="T25" fmla="*/ 134 h 505"/>
                <a:gd name="T26" fmla="*/ 245 w 689"/>
                <a:gd name="T27" fmla="*/ 105 h 505"/>
                <a:gd name="T28" fmla="*/ 236 w 689"/>
                <a:gd name="T29" fmla="*/ 58 h 505"/>
                <a:gd name="T30" fmla="*/ 266 w 689"/>
                <a:gd name="T31" fmla="*/ 58 h 505"/>
                <a:gd name="T32" fmla="*/ 287 w 689"/>
                <a:gd name="T33" fmla="*/ 29 h 505"/>
                <a:gd name="T34" fmla="*/ 319 w 689"/>
                <a:gd name="T35" fmla="*/ 0 h 505"/>
                <a:gd name="T36" fmla="*/ 340 w 689"/>
                <a:gd name="T37" fmla="*/ 9 h 505"/>
                <a:gd name="T38" fmla="*/ 404 w 689"/>
                <a:gd name="T39" fmla="*/ 9 h 505"/>
                <a:gd name="T40" fmla="*/ 424 w 689"/>
                <a:gd name="T41" fmla="*/ 29 h 505"/>
                <a:gd name="T42" fmla="*/ 457 w 689"/>
                <a:gd name="T43" fmla="*/ 9 h 505"/>
                <a:gd name="T44" fmla="*/ 509 w 689"/>
                <a:gd name="T45" fmla="*/ 38 h 505"/>
                <a:gd name="T46" fmla="*/ 499 w 689"/>
                <a:gd name="T47" fmla="*/ 67 h 505"/>
                <a:gd name="T48" fmla="*/ 509 w 689"/>
                <a:gd name="T49" fmla="*/ 134 h 505"/>
                <a:gd name="T50" fmla="*/ 541 w 689"/>
                <a:gd name="T51" fmla="*/ 154 h 505"/>
                <a:gd name="T52" fmla="*/ 604 w 689"/>
                <a:gd name="T53" fmla="*/ 172 h 505"/>
                <a:gd name="T54" fmla="*/ 625 w 689"/>
                <a:gd name="T55" fmla="*/ 200 h 505"/>
                <a:gd name="T56" fmla="*/ 657 w 689"/>
                <a:gd name="T57" fmla="*/ 220 h 505"/>
                <a:gd name="T58" fmla="*/ 679 w 689"/>
                <a:gd name="T59" fmla="*/ 249 h 505"/>
                <a:gd name="T60" fmla="*/ 637 w 689"/>
                <a:gd name="T61" fmla="*/ 278 h 505"/>
                <a:gd name="T62" fmla="*/ 594 w 689"/>
                <a:gd name="T63" fmla="*/ 278 h 505"/>
                <a:gd name="T64" fmla="*/ 594 w 689"/>
                <a:gd name="T65" fmla="*/ 316 h 505"/>
                <a:gd name="T66" fmla="*/ 616 w 689"/>
                <a:gd name="T67" fmla="*/ 365 h 505"/>
                <a:gd name="T68" fmla="*/ 649 w 689"/>
                <a:gd name="T69" fmla="*/ 374 h 505"/>
                <a:gd name="T70" fmla="*/ 614 w 689"/>
                <a:gd name="T71" fmla="*/ 392 h 505"/>
                <a:gd name="T72" fmla="*/ 572 w 689"/>
                <a:gd name="T73" fmla="*/ 392 h 505"/>
                <a:gd name="T74" fmla="*/ 550 w 689"/>
                <a:gd name="T75" fmla="*/ 420 h 505"/>
                <a:gd name="T76" fmla="*/ 550 w 689"/>
                <a:gd name="T77" fmla="*/ 470 h 505"/>
                <a:gd name="T78" fmla="*/ 518 w 689"/>
                <a:gd name="T79" fmla="*/ 470 h 505"/>
                <a:gd name="T80" fmla="*/ 464 w 689"/>
                <a:gd name="T81" fmla="*/ 470 h 505"/>
                <a:gd name="T82" fmla="*/ 444 w 689"/>
                <a:gd name="T83" fmla="*/ 488 h 505"/>
                <a:gd name="T84" fmla="*/ 414 w 689"/>
                <a:gd name="T85" fmla="*/ 470 h 505"/>
                <a:gd name="T86" fmla="*/ 382 w 689"/>
                <a:gd name="T87" fmla="*/ 470 h 505"/>
                <a:gd name="T88" fmla="*/ 317 w 689"/>
                <a:gd name="T89" fmla="*/ 479 h 505"/>
                <a:gd name="T90" fmla="*/ 254 w 689"/>
                <a:gd name="T91" fmla="*/ 460 h 505"/>
                <a:gd name="T92" fmla="*/ 171 w 689"/>
                <a:gd name="T93" fmla="*/ 441 h 505"/>
                <a:gd name="T94" fmla="*/ 95 w 689"/>
                <a:gd name="T95" fmla="*/ 449 h 505"/>
                <a:gd name="T96" fmla="*/ 65 w 689"/>
                <a:gd name="T97" fmla="*/ 479 h 505"/>
                <a:gd name="T98" fmla="*/ 31 w 689"/>
                <a:gd name="T99" fmla="*/ 479 h 505"/>
                <a:gd name="T100" fmla="*/ 22 w 689"/>
                <a:gd name="T101" fmla="*/ 488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89" h="505">
                  <a:moveTo>
                    <a:pt x="22" y="488"/>
                  </a:moveTo>
                  <a:lnTo>
                    <a:pt x="22" y="470"/>
                  </a:lnTo>
                  <a:lnTo>
                    <a:pt x="22" y="460"/>
                  </a:lnTo>
                  <a:lnTo>
                    <a:pt x="22" y="449"/>
                  </a:lnTo>
                  <a:lnTo>
                    <a:pt x="31" y="441"/>
                  </a:lnTo>
                  <a:lnTo>
                    <a:pt x="11" y="441"/>
                  </a:lnTo>
                  <a:lnTo>
                    <a:pt x="0" y="430"/>
                  </a:lnTo>
                  <a:lnTo>
                    <a:pt x="11" y="420"/>
                  </a:lnTo>
                  <a:lnTo>
                    <a:pt x="22" y="411"/>
                  </a:lnTo>
                  <a:lnTo>
                    <a:pt x="31" y="402"/>
                  </a:lnTo>
                  <a:lnTo>
                    <a:pt x="53" y="392"/>
                  </a:lnTo>
                  <a:lnTo>
                    <a:pt x="53" y="373"/>
                  </a:lnTo>
                  <a:lnTo>
                    <a:pt x="43" y="355"/>
                  </a:lnTo>
                  <a:lnTo>
                    <a:pt x="53" y="345"/>
                  </a:lnTo>
                  <a:lnTo>
                    <a:pt x="53" y="337"/>
                  </a:lnTo>
                  <a:lnTo>
                    <a:pt x="43" y="326"/>
                  </a:lnTo>
                  <a:lnTo>
                    <a:pt x="31" y="316"/>
                  </a:lnTo>
                  <a:lnTo>
                    <a:pt x="22" y="306"/>
                  </a:lnTo>
                  <a:lnTo>
                    <a:pt x="22" y="287"/>
                  </a:lnTo>
                  <a:lnTo>
                    <a:pt x="11" y="269"/>
                  </a:lnTo>
                  <a:lnTo>
                    <a:pt x="9" y="236"/>
                  </a:lnTo>
                  <a:lnTo>
                    <a:pt x="13" y="240"/>
                  </a:lnTo>
                  <a:lnTo>
                    <a:pt x="33" y="240"/>
                  </a:lnTo>
                  <a:lnTo>
                    <a:pt x="33" y="249"/>
                  </a:lnTo>
                  <a:lnTo>
                    <a:pt x="54" y="249"/>
                  </a:lnTo>
                  <a:lnTo>
                    <a:pt x="66" y="240"/>
                  </a:lnTo>
                  <a:lnTo>
                    <a:pt x="76" y="220"/>
                  </a:lnTo>
                  <a:lnTo>
                    <a:pt x="66" y="220"/>
                  </a:lnTo>
                  <a:lnTo>
                    <a:pt x="88" y="220"/>
                  </a:lnTo>
                  <a:lnTo>
                    <a:pt x="96" y="220"/>
                  </a:lnTo>
                  <a:lnTo>
                    <a:pt x="119" y="210"/>
                  </a:lnTo>
                  <a:lnTo>
                    <a:pt x="129" y="220"/>
                  </a:lnTo>
                  <a:lnTo>
                    <a:pt x="129" y="210"/>
                  </a:lnTo>
                  <a:lnTo>
                    <a:pt x="138" y="210"/>
                  </a:lnTo>
                  <a:lnTo>
                    <a:pt x="149" y="191"/>
                  </a:lnTo>
                  <a:lnTo>
                    <a:pt x="149" y="181"/>
                  </a:lnTo>
                  <a:lnTo>
                    <a:pt x="149" y="154"/>
                  </a:lnTo>
                  <a:lnTo>
                    <a:pt x="149" y="144"/>
                  </a:lnTo>
                  <a:lnTo>
                    <a:pt x="192" y="134"/>
                  </a:lnTo>
                  <a:lnTo>
                    <a:pt x="192" y="126"/>
                  </a:lnTo>
                  <a:lnTo>
                    <a:pt x="224" y="126"/>
                  </a:lnTo>
                  <a:lnTo>
                    <a:pt x="245" y="105"/>
                  </a:lnTo>
                  <a:lnTo>
                    <a:pt x="202" y="95"/>
                  </a:lnTo>
                  <a:lnTo>
                    <a:pt x="224" y="58"/>
                  </a:lnTo>
                  <a:lnTo>
                    <a:pt x="236" y="58"/>
                  </a:lnTo>
                  <a:lnTo>
                    <a:pt x="245" y="58"/>
                  </a:lnTo>
                  <a:lnTo>
                    <a:pt x="256" y="48"/>
                  </a:lnTo>
                  <a:lnTo>
                    <a:pt x="266" y="58"/>
                  </a:lnTo>
                  <a:lnTo>
                    <a:pt x="287" y="48"/>
                  </a:lnTo>
                  <a:lnTo>
                    <a:pt x="297" y="38"/>
                  </a:lnTo>
                  <a:lnTo>
                    <a:pt x="287" y="29"/>
                  </a:lnTo>
                  <a:lnTo>
                    <a:pt x="277" y="20"/>
                  </a:lnTo>
                  <a:lnTo>
                    <a:pt x="297" y="9"/>
                  </a:lnTo>
                  <a:lnTo>
                    <a:pt x="319" y="0"/>
                  </a:lnTo>
                  <a:lnTo>
                    <a:pt x="329" y="0"/>
                  </a:lnTo>
                  <a:lnTo>
                    <a:pt x="340" y="0"/>
                  </a:lnTo>
                  <a:lnTo>
                    <a:pt x="340" y="9"/>
                  </a:lnTo>
                  <a:lnTo>
                    <a:pt x="360" y="9"/>
                  </a:lnTo>
                  <a:lnTo>
                    <a:pt x="383" y="9"/>
                  </a:lnTo>
                  <a:lnTo>
                    <a:pt x="404" y="9"/>
                  </a:lnTo>
                  <a:lnTo>
                    <a:pt x="415" y="20"/>
                  </a:lnTo>
                  <a:lnTo>
                    <a:pt x="415" y="29"/>
                  </a:lnTo>
                  <a:lnTo>
                    <a:pt x="424" y="29"/>
                  </a:lnTo>
                  <a:lnTo>
                    <a:pt x="447" y="20"/>
                  </a:lnTo>
                  <a:lnTo>
                    <a:pt x="447" y="9"/>
                  </a:lnTo>
                  <a:lnTo>
                    <a:pt x="457" y="9"/>
                  </a:lnTo>
                  <a:lnTo>
                    <a:pt x="477" y="20"/>
                  </a:lnTo>
                  <a:lnTo>
                    <a:pt x="489" y="38"/>
                  </a:lnTo>
                  <a:lnTo>
                    <a:pt x="509" y="38"/>
                  </a:lnTo>
                  <a:lnTo>
                    <a:pt x="509" y="48"/>
                  </a:lnTo>
                  <a:lnTo>
                    <a:pt x="499" y="58"/>
                  </a:lnTo>
                  <a:lnTo>
                    <a:pt x="499" y="67"/>
                  </a:lnTo>
                  <a:lnTo>
                    <a:pt x="519" y="95"/>
                  </a:lnTo>
                  <a:lnTo>
                    <a:pt x="530" y="126"/>
                  </a:lnTo>
                  <a:lnTo>
                    <a:pt x="509" y="134"/>
                  </a:lnTo>
                  <a:lnTo>
                    <a:pt x="541" y="134"/>
                  </a:lnTo>
                  <a:lnTo>
                    <a:pt x="541" y="144"/>
                  </a:lnTo>
                  <a:lnTo>
                    <a:pt x="541" y="154"/>
                  </a:lnTo>
                  <a:lnTo>
                    <a:pt x="573" y="162"/>
                  </a:lnTo>
                  <a:lnTo>
                    <a:pt x="582" y="162"/>
                  </a:lnTo>
                  <a:lnTo>
                    <a:pt x="604" y="172"/>
                  </a:lnTo>
                  <a:lnTo>
                    <a:pt x="604" y="191"/>
                  </a:lnTo>
                  <a:lnTo>
                    <a:pt x="604" y="200"/>
                  </a:lnTo>
                  <a:lnTo>
                    <a:pt x="625" y="200"/>
                  </a:lnTo>
                  <a:lnTo>
                    <a:pt x="637" y="200"/>
                  </a:lnTo>
                  <a:lnTo>
                    <a:pt x="657" y="200"/>
                  </a:lnTo>
                  <a:lnTo>
                    <a:pt x="657" y="220"/>
                  </a:lnTo>
                  <a:lnTo>
                    <a:pt x="679" y="220"/>
                  </a:lnTo>
                  <a:lnTo>
                    <a:pt x="689" y="240"/>
                  </a:lnTo>
                  <a:lnTo>
                    <a:pt x="679" y="249"/>
                  </a:lnTo>
                  <a:lnTo>
                    <a:pt x="667" y="258"/>
                  </a:lnTo>
                  <a:lnTo>
                    <a:pt x="657" y="269"/>
                  </a:lnTo>
                  <a:lnTo>
                    <a:pt x="637" y="278"/>
                  </a:lnTo>
                  <a:lnTo>
                    <a:pt x="625" y="287"/>
                  </a:lnTo>
                  <a:lnTo>
                    <a:pt x="604" y="278"/>
                  </a:lnTo>
                  <a:lnTo>
                    <a:pt x="594" y="278"/>
                  </a:lnTo>
                  <a:lnTo>
                    <a:pt x="594" y="287"/>
                  </a:lnTo>
                  <a:lnTo>
                    <a:pt x="594" y="306"/>
                  </a:lnTo>
                  <a:lnTo>
                    <a:pt x="594" y="316"/>
                  </a:lnTo>
                  <a:lnTo>
                    <a:pt x="604" y="337"/>
                  </a:lnTo>
                  <a:lnTo>
                    <a:pt x="616" y="355"/>
                  </a:lnTo>
                  <a:lnTo>
                    <a:pt x="616" y="365"/>
                  </a:lnTo>
                  <a:lnTo>
                    <a:pt x="625" y="373"/>
                  </a:lnTo>
                  <a:lnTo>
                    <a:pt x="652" y="379"/>
                  </a:lnTo>
                  <a:lnTo>
                    <a:pt x="649" y="374"/>
                  </a:lnTo>
                  <a:lnTo>
                    <a:pt x="649" y="392"/>
                  </a:lnTo>
                  <a:lnTo>
                    <a:pt x="624" y="392"/>
                  </a:lnTo>
                  <a:lnTo>
                    <a:pt x="614" y="392"/>
                  </a:lnTo>
                  <a:lnTo>
                    <a:pt x="604" y="392"/>
                  </a:lnTo>
                  <a:lnTo>
                    <a:pt x="593" y="392"/>
                  </a:lnTo>
                  <a:lnTo>
                    <a:pt x="572" y="392"/>
                  </a:lnTo>
                  <a:lnTo>
                    <a:pt x="561" y="392"/>
                  </a:lnTo>
                  <a:lnTo>
                    <a:pt x="550" y="402"/>
                  </a:lnTo>
                  <a:lnTo>
                    <a:pt x="550" y="420"/>
                  </a:lnTo>
                  <a:lnTo>
                    <a:pt x="541" y="441"/>
                  </a:lnTo>
                  <a:lnTo>
                    <a:pt x="550" y="460"/>
                  </a:lnTo>
                  <a:lnTo>
                    <a:pt x="550" y="470"/>
                  </a:lnTo>
                  <a:lnTo>
                    <a:pt x="550" y="488"/>
                  </a:lnTo>
                  <a:lnTo>
                    <a:pt x="541" y="488"/>
                  </a:lnTo>
                  <a:lnTo>
                    <a:pt x="518" y="470"/>
                  </a:lnTo>
                  <a:lnTo>
                    <a:pt x="507" y="470"/>
                  </a:lnTo>
                  <a:lnTo>
                    <a:pt x="498" y="479"/>
                  </a:lnTo>
                  <a:lnTo>
                    <a:pt x="464" y="470"/>
                  </a:lnTo>
                  <a:lnTo>
                    <a:pt x="455" y="470"/>
                  </a:lnTo>
                  <a:lnTo>
                    <a:pt x="444" y="479"/>
                  </a:lnTo>
                  <a:lnTo>
                    <a:pt x="444" y="488"/>
                  </a:lnTo>
                  <a:lnTo>
                    <a:pt x="434" y="498"/>
                  </a:lnTo>
                  <a:lnTo>
                    <a:pt x="423" y="479"/>
                  </a:lnTo>
                  <a:lnTo>
                    <a:pt x="414" y="470"/>
                  </a:lnTo>
                  <a:lnTo>
                    <a:pt x="403" y="488"/>
                  </a:lnTo>
                  <a:lnTo>
                    <a:pt x="392" y="479"/>
                  </a:lnTo>
                  <a:lnTo>
                    <a:pt x="382" y="470"/>
                  </a:lnTo>
                  <a:lnTo>
                    <a:pt x="359" y="470"/>
                  </a:lnTo>
                  <a:lnTo>
                    <a:pt x="349" y="479"/>
                  </a:lnTo>
                  <a:lnTo>
                    <a:pt x="317" y="479"/>
                  </a:lnTo>
                  <a:lnTo>
                    <a:pt x="306" y="470"/>
                  </a:lnTo>
                  <a:lnTo>
                    <a:pt x="296" y="470"/>
                  </a:lnTo>
                  <a:lnTo>
                    <a:pt x="254" y="460"/>
                  </a:lnTo>
                  <a:lnTo>
                    <a:pt x="234" y="449"/>
                  </a:lnTo>
                  <a:lnTo>
                    <a:pt x="201" y="441"/>
                  </a:lnTo>
                  <a:lnTo>
                    <a:pt x="171" y="441"/>
                  </a:lnTo>
                  <a:lnTo>
                    <a:pt x="138" y="449"/>
                  </a:lnTo>
                  <a:lnTo>
                    <a:pt x="118" y="449"/>
                  </a:lnTo>
                  <a:lnTo>
                    <a:pt x="95" y="449"/>
                  </a:lnTo>
                  <a:lnTo>
                    <a:pt x="85" y="461"/>
                  </a:lnTo>
                  <a:lnTo>
                    <a:pt x="74" y="470"/>
                  </a:lnTo>
                  <a:lnTo>
                    <a:pt x="65" y="479"/>
                  </a:lnTo>
                  <a:lnTo>
                    <a:pt x="53" y="488"/>
                  </a:lnTo>
                  <a:lnTo>
                    <a:pt x="43" y="479"/>
                  </a:lnTo>
                  <a:lnTo>
                    <a:pt x="31" y="479"/>
                  </a:lnTo>
                  <a:lnTo>
                    <a:pt x="22" y="505"/>
                  </a:lnTo>
                  <a:lnTo>
                    <a:pt x="22" y="488"/>
                  </a:lnTo>
                  <a:lnTo>
                    <a:pt x="22" y="488"/>
                  </a:lnTo>
                  <a:lnTo>
                    <a:pt x="22" y="488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98" name="Freeform 78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5505450" y="3902076"/>
              <a:ext cx="1873250" cy="790575"/>
            </a:xfrm>
            <a:custGeom>
              <a:avLst/>
              <a:gdLst>
                <a:gd name="T0" fmla="*/ 969 w 1914"/>
                <a:gd name="T1" fmla="*/ 968 h 968"/>
                <a:gd name="T2" fmla="*/ 1041 w 1914"/>
                <a:gd name="T3" fmla="*/ 896 h 968"/>
                <a:gd name="T4" fmla="*/ 1099 w 1914"/>
                <a:gd name="T5" fmla="*/ 853 h 968"/>
                <a:gd name="T6" fmla="*/ 1126 w 1914"/>
                <a:gd name="T7" fmla="*/ 869 h 968"/>
                <a:gd name="T8" fmla="*/ 1113 w 1914"/>
                <a:gd name="T9" fmla="*/ 940 h 968"/>
                <a:gd name="T10" fmla="*/ 1254 w 1914"/>
                <a:gd name="T11" fmla="*/ 925 h 968"/>
                <a:gd name="T12" fmla="*/ 1313 w 1914"/>
                <a:gd name="T13" fmla="*/ 896 h 968"/>
                <a:gd name="T14" fmla="*/ 1413 w 1914"/>
                <a:gd name="T15" fmla="*/ 896 h 968"/>
                <a:gd name="T16" fmla="*/ 1454 w 1914"/>
                <a:gd name="T17" fmla="*/ 853 h 968"/>
                <a:gd name="T18" fmla="*/ 1569 w 1914"/>
                <a:gd name="T19" fmla="*/ 811 h 968"/>
                <a:gd name="T20" fmla="*/ 1654 w 1914"/>
                <a:gd name="T21" fmla="*/ 781 h 968"/>
                <a:gd name="T22" fmla="*/ 1712 w 1914"/>
                <a:gd name="T23" fmla="*/ 710 h 968"/>
                <a:gd name="T24" fmla="*/ 1755 w 1914"/>
                <a:gd name="T25" fmla="*/ 681 h 968"/>
                <a:gd name="T26" fmla="*/ 1869 w 1914"/>
                <a:gd name="T27" fmla="*/ 541 h 968"/>
                <a:gd name="T28" fmla="*/ 1869 w 1914"/>
                <a:gd name="T29" fmla="*/ 411 h 968"/>
                <a:gd name="T30" fmla="*/ 1869 w 1914"/>
                <a:gd name="T31" fmla="*/ 355 h 968"/>
                <a:gd name="T32" fmla="*/ 1914 w 1914"/>
                <a:gd name="T33" fmla="*/ 256 h 968"/>
                <a:gd name="T34" fmla="*/ 1797 w 1914"/>
                <a:gd name="T35" fmla="*/ 256 h 968"/>
                <a:gd name="T36" fmla="*/ 1743 w 1914"/>
                <a:gd name="T37" fmla="*/ 240 h 968"/>
                <a:gd name="T38" fmla="*/ 1669 w 1914"/>
                <a:gd name="T39" fmla="*/ 240 h 968"/>
                <a:gd name="T40" fmla="*/ 1572 w 1914"/>
                <a:gd name="T41" fmla="*/ 213 h 968"/>
                <a:gd name="T42" fmla="*/ 1485 w 1914"/>
                <a:gd name="T43" fmla="*/ 240 h 968"/>
                <a:gd name="T44" fmla="*/ 1400 w 1914"/>
                <a:gd name="T45" fmla="*/ 227 h 968"/>
                <a:gd name="T46" fmla="*/ 1344 w 1914"/>
                <a:gd name="T47" fmla="*/ 157 h 968"/>
                <a:gd name="T48" fmla="*/ 1256 w 1914"/>
                <a:gd name="T49" fmla="*/ 128 h 968"/>
                <a:gd name="T50" fmla="*/ 1216 w 1914"/>
                <a:gd name="T51" fmla="*/ 41 h 968"/>
                <a:gd name="T52" fmla="*/ 1115 w 1914"/>
                <a:gd name="T53" fmla="*/ 0 h 968"/>
                <a:gd name="T54" fmla="*/ 1027 w 1914"/>
                <a:gd name="T55" fmla="*/ 15 h 968"/>
                <a:gd name="T56" fmla="*/ 971 w 1914"/>
                <a:gd name="T57" fmla="*/ 56 h 968"/>
                <a:gd name="T58" fmla="*/ 884 w 1914"/>
                <a:gd name="T59" fmla="*/ 48 h 968"/>
                <a:gd name="T60" fmla="*/ 863 w 1914"/>
                <a:gd name="T61" fmla="*/ 169 h 968"/>
                <a:gd name="T62" fmla="*/ 801 w 1914"/>
                <a:gd name="T63" fmla="*/ 184 h 968"/>
                <a:gd name="T64" fmla="*/ 715 w 1914"/>
                <a:gd name="T65" fmla="*/ 213 h 968"/>
                <a:gd name="T66" fmla="*/ 645 w 1914"/>
                <a:gd name="T67" fmla="*/ 171 h 968"/>
                <a:gd name="T68" fmla="*/ 529 w 1914"/>
                <a:gd name="T69" fmla="*/ 171 h 968"/>
                <a:gd name="T70" fmla="*/ 314 w 1914"/>
                <a:gd name="T71" fmla="*/ 140 h 968"/>
                <a:gd name="T72" fmla="*/ 211 w 1914"/>
                <a:gd name="T73" fmla="*/ 184 h 968"/>
                <a:gd name="T74" fmla="*/ 163 w 1914"/>
                <a:gd name="T75" fmla="*/ 217 h 968"/>
                <a:gd name="T76" fmla="*/ 199 w 1914"/>
                <a:gd name="T77" fmla="*/ 299 h 968"/>
                <a:gd name="T78" fmla="*/ 199 w 1914"/>
                <a:gd name="T79" fmla="*/ 384 h 968"/>
                <a:gd name="T80" fmla="*/ 87 w 1914"/>
                <a:gd name="T81" fmla="*/ 467 h 968"/>
                <a:gd name="T82" fmla="*/ 56 w 1914"/>
                <a:gd name="T83" fmla="*/ 584 h 968"/>
                <a:gd name="T84" fmla="*/ 29 w 1914"/>
                <a:gd name="T85" fmla="*/ 725 h 968"/>
                <a:gd name="T86" fmla="*/ 199 w 1914"/>
                <a:gd name="T87" fmla="*/ 768 h 968"/>
                <a:gd name="T88" fmla="*/ 327 w 1914"/>
                <a:gd name="T89" fmla="*/ 754 h 968"/>
                <a:gd name="T90" fmla="*/ 444 w 1914"/>
                <a:gd name="T91" fmla="*/ 696 h 968"/>
                <a:gd name="T92" fmla="*/ 515 w 1914"/>
                <a:gd name="T93" fmla="*/ 696 h 968"/>
                <a:gd name="T94" fmla="*/ 626 w 1914"/>
                <a:gd name="T95" fmla="*/ 667 h 968"/>
                <a:gd name="T96" fmla="*/ 713 w 1914"/>
                <a:gd name="T97" fmla="*/ 681 h 968"/>
                <a:gd name="T98" fmla="*/ 785 w 1914"/>
                <a:gd name="T99" fmla="*/ 725 h 968"/>
                <a:gd name="T100" fmla="*/ 799 w 1914"/>
                <a:gd name="T101" fmla="*/ 811 h 968"/>
                <a:gd name="T102" fmla="*/ 857 w 1914"/>
                <a:gd name="T103" fmla="*/ 869 h 968"/>
                <a:gd name="T104" fmla="*/ 899 w 1914"/>
                <a:gd name="T105" fmla="*/ 925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14" h="968">
                  <a:moveTo>
                    <a:pt x="913" y="954"/>
                  </a:moveTo>
                  <a:lnTo>
                    <a:pt x="927" y="940"/>
                  </a:lnTo>
                  <a:lnTo>
                    <a:pt x="942" y="954"/>
                  </a:lnTo>
                  <a:lnTo>
                    <a:pt x="956" y="968"/>
                  </a:lnTo>
                  <a:lnTo>
                    <a:pt x="969" y="968"/>
                  </a:lnTo>
                  <a:lnTo>
                    <a:pt x="969" y="925"/>
                  </a:lnTo>
                  <a:lnTo>
                    <a:pt x="985" y="896"/>
                  </a:lnTo>
                  <a:lnTo>
                    <a:pt x="998" y="896"/>
                  </a:lnTo>
                  <a:lnTo>
                    <a:pt x="1012" y="911"/>
                  </a:lnTo>
                  <a:lnTo>
                    <a:pt x="1041" y="896"/>
                  </a:lnTo>
                  <a:lnTo>
                    <a:pt x="1070" y="869"/>
                  </a:lnTo>
                  <a:lnTo>
                    <a:pt x="1084" y="869"/>
                  </a:lnTo>
                  <a:lnTo>
                    <a:pt x="1084" y="880"/>
                  </a:lnTo>
                  <a:lnTo>
                    <a:pt x="1099" y="880"/>
                  </a:lnTo>
                  <a:lnTo>
                    <a:pt x="1099" y="853"/>
                  </a:lnTo>
                  <a:lnTo>
                    <a:pt x="1099" y="840"/>
                  </a:lnTo>
                  <a:lnTo>
                    <a:pt x="1099" y="811"/>
                  </a:lnTo>
                  <a:lnTo>
                    <a:pt x="1113" y="840"/>
                  </a:lnTo>
                  <a:lnTo>
                    <a:pt x="1126" y="853"/>
                  </a:lnTo>
                  <a:lnTo>
                    <a:pt x="1126" y="869"/>
                  </a:lnTo>
                  <a:lnTo>
                    <a:pt x="1142" y="896"/>
                  </a:lnTo>
                  <a:lnTo>
                    <a:pt x="1113" y="896"/>
                  </a:lnTo>
                  <a:lnTo>
                    <a:pt x="1113" y="911"/>
                  </a:lnTo>
                  <a:lnTo>
                    <a:pt x="1113" y="925"/>
                  </a:lnTo>
                  <a:lnTo>
                    <a:pt x="1113" y="940"/>
                  </a:lnTo>
                  <a:lnTo>
                    <a:pt x="1142" y="954"/>
                  </a:lnTo>
                  <a:lnTo>
                    <a:pt x="1167" y="968"/>
                  </a:lnTo>
                  <a:lnTo>
                    <a:pt x="1214" y="940"/>
                  </a:lnTo>
                  <a:lnTo>
                    <a:pt x="1241" y="925"/>
                  </a:lnTo>
                  <a:lnTo>
                    <a:pt x="1254" y="925"/>
                  </a:lnTo>
                  <a:lnTo>
                    <a:pt x="1270" y="911"/>
                  </a:lnTo>
                  <a:lnTo>
                    <a:pt x="1283" y="954"/>
                  </a:lnTo>
                  <a:lnTo>
                    <a:pt x="1297" y="940"/>
                  </a:lnTo>
                  <a:lnTo>
                    <a:pt x="1313" y="911"/>
                  </a:lnTo>
                  <a:lnTo>
                    <a:pt x="1313" y="896"/>
                  </a:lnTo>
                  <a:lnTo>
                    <a:pt x="1326" y="896"/>
                  </a:lnTo>
                  <a:lnTo>
                    <a:pt x="1342" y="911"/>
                  </a:lnTo>
                  <a:lnTo>
                    <a:pt x="1355" y="896"/>
                  </a:lnTo>
                  <a:lnTo>
                    <a:pt x="1369" y="896"/>
                  </a:lnTo>
                  <a:lnTo>
                    <a:pt x="1413" y="896"/>
                  </a:lnTo>
                  <a:lnTo>
                    <a:pt x="1413" y="911"/>
                  </a:lnTo>
                  <a:lnTo>
                    <a:pt x="1427" y="911"/>
                  </a:lnTo>
                  <a:lnTo>
                    <a:pt x="1427" y="896"/>
                  </a:lnTo>
                  <a:lnTo>
                    <a:pt x="1441" y="896"/>
                  </a:lnTo>
                  <a:lnTo>
                    <a:pt x="1454" y="853"/>
                  </a:lnTo>
                  <a:lnTo>
                    <a:pt x="1483" y="840"/>
                  </a:lnTo>
                  <a:lnTo>
                    <a:pt x="1483" y="869"/>
                  </a:lnTo>
                  <a:lnTo>
                    <a:pt x="1499" y="869"/>
                  </a:lnTo>
                  <a:lnTo>
                    <a:pt x="1541" y="824"/>
                  </a:lnTo>
                  <a:lnTo>
                    <a:pt x="1569" y="811"/>
                  </a:lnTo>
                  <a:lnTo>
                    <a:pt x="1582" y="795"/>
                  </a:lnTo>
                  <a:lnTo>
                    <a:pt x="1598" y="781"/>
                  </a:lnTo>
                  <a:lnTo>
                    <a:pt x="1611" y="781"/>
                  </a:lnTo>
                  <a:lnTo>
                    <a:pt x="1640" y="795"/>
                  </a:lnTo>
                  <a:lnTo>
                    <a:pt x="1654" y="781"/>
                  </a:lnTo>
                  <a:lnTo>
                    <a:pt x="1640" y="768"/>
                  </a:lnTo>
                  <a:lnTo>
                    <a:pt x="1667" y="754"/>
                  </a:lnTo>
                  <a:lnTo>
                    <a:pt x="1683" y="725"/>
                  </a:lnTo>
                  <a:lnTo>
                    <a:pt x="1698" y="710"/>
                  </a:lnTo>
                  <a:lnTo>
                    <a:pt x="1712" y="710"/>
                  </a:lnTo>
                  <a:lnTo>
                    <a:pt x="1726" y="696"/>
                  </a:lnTo>
                  <a:lnTo>
                    <a:pt x="1726" y="681"/>
                  </a:lnTo>
                  <a:lnTo>
                    <a:pt x="1741" y="696"/>
                  </a:lnTo>
                  <a:lnTo>
                    <a:pt x="1753" y="696"/>
                  </a:lnTo>
                  <a:lnTo>
                    <a:pt x="1755" y="681"/>
                  </a:lnTo>
                  <a:lnTo>
                    <a:pt x="1755" y="613"/>
                  </a:lnTo>
                  <a:lnTo>
                    <a:pt x="1797" y="597"/>
                  </a:lnTo>
                  <a:lnTo>
                    <a:pt x="1813" y="555"/>
                  </a:lnTo>
                  <a:lnTo>
                    <a:pt x="1826" y="541"/>
                  </a:lnTo>
                  <a:lnTo>
                    <a:pt x="1869" y="541"/>
                  </a:lnTo>
                  <a:lnTo>
                    <a:pt x="1898" y="541"/>
                  </a:lnTo>
                  <a:lnTo>
                    <a:pt x="1914" y="496"/>
                  </a:lnTo>
                  <a:lnTo>
                    <a:pt x="1914" y="456"/>
                  </a:lnTo>
                  <a:lnTo>
                    <a:pt x="1883" y="411"/>
                  </a:lnTo>
                  <a:lnTo>
                    <a:pt x="1869" y="411"/>
                  </a:lnTo>
                  <a:lnTo>
                    <a:pt x="1869" y="397"/>
                  </a:lnTo>
                  <a:lnTo>
                    <a:pt x="1883" y="384"/>
                  </a:lnTo>
                  <a:lnTo>
                    <a:pt x="1898" y="368"/>
                  </a:lnTo>
                  <a:lnTo>
                    <a:pt x="1898" y="355"/>
                  </a:lnTo>
                  <a:lnTo>
                    <a:pt x="1869" y="355"/>
                  </a:lnTo>
                  <a:lnTo>
                    <a:pt x="1856" y="343"/>
                  </a:lnTo>
                  <a:lnTo>
                    <a:pt x="1869" y="328"/>
                  </a:lnTo>
                  <a:lnTo>
                    <a:pt x="1898" y="314"/>
                  </a:lnTo>
                  <a:lnTo>
                    <a:pt x="1914" y="299"/>
                  </a:lnTo>
                  <a:lnTo>
                    <a:pt x="1914" y="256"/>
                  </a:lnTo>
                  <a:lnTo>
                    <a:pt x="1898" y="256"/>
                  </a:lnTo>
                  <a:lnTo>
                    <a:pt x="1883" y="271"/>
                  </a:lnTo>
                  <a:lnTo>
                    <a:pt x="1856" y="271"/>
                  </a:lnTo>
                  <a:lnTo>
                    <a:pt x="1826" y="256"/>
                  </a:lnTo>
                  <a:lnTo>
                    <a:pt x="1797" y="256"/>
                  </a:lnTo>
                  <a:lnTo>
                    <a:pt x="1797" y="271"/>
                  </a:lnTo>
                  <a:lnTo>
                    <a:pt x="1786" y="256"/>
                  </a:lnTo>
                  <a:lnTo>
                    <a:pt x="1786" y="240"/>
                  </a:lnTo>
                  <a:lnTo>
                    <a:pt x="1770" y="240"/>
                  </a:lnTo>
                  <a:lnTo>
                    <a:pt x="1743" y="240"/>
                  </a:lnTo>
                  <a:lnTo>
                    <a:pt x="1743" y="256"/>
                  </a:lnTo>
                  <a:lnTo>
                    <a:pt x="1714" y="256"/>
                  </a:lnTo>
                  <a:lnTo>
                    <a:pt x="1714" y="240"/>
                  </a:lnTo>
                  <a:lnTo>
                    <a:pt x="1685" y="256"/>
                  </a:lnTo>
                  <a:lnTo>
                    <a:pt x="1669" y="240"/>
                  </a:lnTo>
                  <a:lnTo>
                    <a:pt x="1656" y="227"/>
                  </a:lnTo>
                  <a:lnTo>
                    <a:pt x="1656" y="240"/>
                  </a:lnTo>
                  <a:lnTo>
                    <a:pt x="1627" y="256"/>
                  </a:lnTo>
                  <a:lnTo>
                    <a:pt x="1582" y="227"/>
                  </a:lnTo>
                  <a:lnTo>
                    <a:pt x="1572" y="213"/>
                  </a:lnTo>
                  <a:lnTo>
                    <a:pt x="1572" y="198"/>
                  </a:lnTo>
                  <a:lnTo>
                    <a:pt x="1543" y="198"/>
                  </a:lnTo>
                  <a:lnTo>
                    <a:pt x="1514" y="227"/>
                  </a:lnTo>
                  <a:lnTo>
                    <a:pt x="1501" y="240"/>
                  </a:lnTo>
                  <a:lnTo>
                    <a:pt x="1485" y="240"/>
                  </a:lnTo>
                  <a:lnTo>
                    <a:pt x="1470" y="227"/>
                  </a:lnTo>
                  <a:lnTo>
                    <a:pt x="1456" y="240"/>
                  </a:lnTo>
                  <a:lnTo>
                    <a:pt x="1441" y="227"/>
                  </a:lnTo>
                  <a:lnTo>
                    <a:pt x="1429" y="227"/>
                  </a:lnTo>
                  <a:lnTo>
                    <a:pt x="1400" y="227"/>
                  </a:lnTo>
                  <a:lnTo>
                    <a:pt x="1382" y="227"/>
                  </a:lnTo>
                  <a:lnTo>
                    <a:pt x="1382" y="213"/>
                  </a:lnTo>
                  <a:lnTo>
                    <a:pt x="1371" y="171"/>
                  </a:lnTo>
                  <a:lnTo>
                    <a:pt x="1371" y="157"/>
                  </a:lnTo>
                  <a:lnTo>
                    <a:pt x="1344" y="157"/>
                  </a:lnTo>
                  <a:lnTo>
                    <a:pt x="1328" y="128"/>
                  </a:lnTo>
                  <a:lnTo>
                    <a:pt x="1328" y="112"/>
                  </a:lnTo>
                  <a:lnTo>
                    <a:pt x="1314" y="112"/>
                  </a:lnTo>
                  <a:lnTo>
                    <a:pt x="1301" y="128"/>
                  </a:lnTo>
                  <a:lnTo>
                    <a:pt x="1256" y="128"/>
                  </a:lnTo>
                  <a:lnTo>
                    <a:pt x="1227" y="128"/>
                  </a:lnTo>
                  <a:lnTo>
                    <a:pt x="1227" y="112"/>
                  </a:lnTo>
                  <a:lnTo>
                    <a:pt x="1227" y="83"/>
                  </a:lnTo>
                  <a:lnTo>
                    <a:pt x="1227" y="56"/>
                  </a:lnTo>
                  <a:lnTo>
                    <a:pt x="1216" y="41"/>
                  </a:lnTo>
                  <a:lnTo>
                    <a:pt x="1200" y="15"/>
                  </a:lnTo>
                  <a:lnTo>
                    <a:pt x="1185" y="0"/>
                  </a:lnTo>
                  <a:lnTo>
                    <a:pt x="1171" y="0"/>
                  </a:lnTo>
                  <a:lnTo>
                    <a:pt x="1142" y="15"/>
                  </a:lnTo>
                  <a:lnTo>
                    <a:pt x="1115" y="0"/>
                  </a:lnTo>
                  <a:lnTo>
                    <a:pt x="1099" y="0"/>
                  </a:lnTo>
                  <a:lnTo>
                    <a:pt x="1086" y="15"/>
                  </a:lnTo>
                  <a:lnTo>
                    <a:pt x="1072" y="15"/>
                  </a:lnTo>
                  <a:lnTo>
                    <a:pt x="1043" y="27"/>
                  </a:lnTo>
                  <a:lnTo>
                    <a:pt x="1027" y="15"/>
                  </a:lnTo>
                  <a:lnTo>
                    <a:pt x="1000" y="27"/>
                  </a:lnTo>
                  <a:lnTo>
                    <a:pt x="1000" y="41"/>
                  </a:lnTo>
                  <a:lnTo>
                    <a:pt x="1000" y="27"/>
                  </a:lnTo>
                  <a:lnTo>
                    <a:pt x="1000" y="56"/>
                  </a:lnTo>
                  <a:lnTo>
                    <a:pt x="971" y="56"/>
                  </a:lnTo>
                  <a:lnTo>
                    <a:pt x="958" y="56"/>
                  </a:lnTo>
                  <a:lnTo>
                    <a:pt x="942" y="56"/>
                  </a:lnTo>
                  <a:lnTo>
                    <a:pt x="927" y="48"/>
                  </a:lnTo>
                  <a:lnTo>
                    <a:pt x="901" y="48"/>
                  </a:lnTo>
                  <a:lnTo>
                    <a:pt x="884" y="48"/>
                  </a:lnTo>
                  <a:lnTo>
                    <a:pt x="863" y="68"/>
                  </a:lnTo>
                  <a:lnTo>
                    <a:pt x="863" y="95"/>
                  </a:lnTo>
                  <a:lnTo>
                    <a:pt x="853" y="128"/>
                  </a:lnTo>
                  <a:lnTo>
                    <a:pt x="868" y="159"/>
                  </a:lnTo>
                  <a:lnTo>
                    <a:pt x="863" y="169"/>
                  </a:lnTo>
                  <a:lnTo>
                    <a:pt x="863" y="202"/>
                  </a:lnTo>
                  <a:lnTo>
                    <a:pt x="857" y="198"/>
                  </a:lnTo>
                  <a:lnTo>
                    <a:pt x="828" y="171"/>
                  </a:lnTo>
                  <a:lnTo>
                    <a:pt x="814" y="171"/>
                  </a:lnTo>
                  <a:lnTo>
                    <a:pt x="801" y="184"/>
                  </a:lnTo>
                  <a:lnTo>
                    <a:pt x="756" y="171"/>
                  </a:lnTo>
                  <a:lnTo>
                    <a:pt x="744" y="171"/>
                  </a:lnTo>
                  <a:lnTo>
                    <a:pt x="725" y="184"/>
                  </a:lnTo>
                  <a:lnTo>
                    <a:pt x="721" y="202"/>
                  </a:lnTo>
                  <a:lnTo>
                    <a:pt x="715" y="213"/>
                  </a:lnTo>
                  <a:lnTo>
                    <a:pt x="698" y="174"/>
                  </a:lnTo>
                  <a:lnTo>
                    <a:pt x="682" y="169"/>
                  </a:lnTo>
                  <a:lnTo>
                    <a:pt x="667" y="202"/>
                  </a:lnTo>
                  <a:lnTo>
                    <a:pt x="659" y="184"/>
                  </a:lnTo>
                  <a:lnTo>
                    <a:pt x="645" y="171"/>
                  </a:lnTo>
                  <a:lnTo>
                    <a:pt x="614" y="171"/>
                  </a:lnTo>
                  <a:lnTo>
                    <a:pt x="599" y="184"/>
                  </a:lnTo>
                  <a:lnTo>
                    <a:pt x="558" y="184"/>
                  </a:lnTo>
                  <a:lnTo>
                    <a:pt x="543" y="171"/>
                  </a:lnTo>
                  <a:lnTo>
                    <a:pt x="529" y="171"/>
                  </a:lnTo>
                  <a:lnTo>
                    <a:pt x="473" y="157"/>
                  </a:lnTo>
                  <a:lnTo>
                    <a:pt x="446" y="140"/>
                  </a:lnTo>
                  <a:lnTo>
                    <a:pt x="401" y="128"/>
                  </a:lnTo>
                  <a:lnTo>
                    <a:pt x="360" y="128"/>
                  </a:lnTo>
                  <a:lnTo>
                    <a:pt x="314" y="140"/>
                  </a:lnTo>
                  <a:lnTo>
                    <a:pt x="289" y="140"/>
                  </a:lnTo>
                  <a:lnTo>
                    <a:pt x="259" y="138"/>
                  </a:lnTo>
                  <a:lnTo>
                    <a:pt x="232" y="153"/>
                  </a:lnTo>
                  <a:lnTo>
                    <a:pt x="227" y="169"/>
                  </a:lnTo>
                  <a:lnTo>
                    <a:pt x="211" y="184"/>
                  </a:lnTo>
                  <a:lnTo>
                    <a:pt x="201" y="198"/>
                  </a:lnTo>
                  <a:lnTo>
                    <a:pt x="186" y="184"/>
                  </a:lnTo>
                  <a:lnTo>
                    <a:pt x="168" y="184"/>
                  </a:lnTo>
                  <a:lnTo>
                    <a:pt x="159" y="213"/>
                  </a:lnTo>
                  <a:lnTo>
                    <a:pt x="163" y="217"/>
                  </a:lnTo>
                  <a:lnTo>
                    <a:pt x="157" y="227"/>
                  </a:lnTo>
                  <a:lnTo>
                    <a:pt x="143" y="240"/>
                  </a:lnTo>
                  <a:lnTo>
                    <a:pt x="157" y="256"/>
                  </a:lnTo>
                  <a:lnTo>
                    <a:pt x="186" y="285"/>
                  </a:lnTo>
                  <a:lnTo>
                    <a:pt x="199" y="299"/>
                  </a:lnTo>
                  <a:lnTo>
                    <a:pt x="186" y="314"/>
                  </a:lnTo>
                  <a:lnTo>
                    <a:pt x="186" y="328"/>
                  </a:lnTo>
                  <a:lnTo>
                    <a:pt x="199" y="343"/>
                  </a:lnTo>
                  <a:lnTo>
                    <a:pt x="199" y="368"/>
                  </a:lnTo>
                  <a:lnTo>
                    <a:pt x="199" y="384"/>
                  </a:lnTo>
                  <a:lnTo>
                    <a:pt x="186" y="384"/>
                  </a:lnTo>
                  <a:lnTo>
                    <a:pt x="170" y="384"/>
                  </a:lnTo>
                  <a:lnTo>
                    <a:pt x="157" y="411"/>
                  </a:lnTo>
                  <a:lnTo>
                    <a:pt x="128" y="427"/>
                  </a:lnTo>
                  <a:lnTo>
                    <a:pt x="87" y="467"/>
                  </a:lnTo>
                  <a:lnTo>
                    <a:pt x="71" y="483"/>
                  </a:lnTo>
                  <a:lnTo>
                    <a:pt x="56" y="512"/>
                  </a:lnTo>
                  <a:lnTo>
                    <a:pt x="71" y="555"/>
                  </a:lnTo>
                  <a:lnTo>
                    <a:pt x="71" y="584"/>
                  </a:lnTo>
                  <a:lnTo>
                    <a:pt x="56" y="584"/>
                  </a:lnTo>
                  <a:lnTo>
                    <a:pt x="44" y="584"/>
                  </a:lnTo>
                  <a:lnTo>
                    <a:pt x="15" y="626"/>
                  </a:lnTo>
                  <a:lnTo>
                    <a:pt x="0" y="667"/>
                  </a:lnTo>
                  <a:lnTo>
                    <a:pt x="0" y="696"/>
                  </a:lnTo>
                  <a:lnTo>
                    <a:pt x="29" y="725"/>
                  </a:lnTo>
                  <a:lnTo>
                    <a:pt x="56" y="739"/>
                  </a:lnTo>
                  <a:lnTo>
                    <a:pt x="87" y="739"/>
                  </a:lnTo>
                  <a:lnTo>
                    <a:pt x="143" y="739"/>
                  </a:lnTo>
                  <a:lnTo>
                    <a:pt x="170" y="754"/>
                  </a:lnTo>
                  <a:lnTo>
                    <a:pt x="199" y="768"/>
                  </a:lnTo>
                  <a:lnTo>
                    <a:pt x="242" y="754"/>
                  </a:lnTo>
                  <a:lnTo>
                    <a:pt x="256" y="739"/>
                  </a:lnTo>
                  <a:lnTo>
                    <a:pt x="287" y="754"/>
                  </a:lnTo>
                  <a:lnTo>
                    <a:pt x="300" y="768"/>
                  </a:lnTo>
                  <a:lnTo>
                    <a:pt x="327" y="754"/>
                  </a:lnTo>
                  <a:lnTo>
                    <a:pt x="358" y="725"/>
                  </a:lnTo>
                  <a:lnTo>
                    <a:pt x="384" y="725"/>
                  </a:lnTo>
                  <a:lnTo>
                    <a:pt x="413" y="725"/>
                  </a:lnTo>
                  <a:lnTo>
                    <a:pt x="428" y="725"/>
                  </a:lnTo>
                  <a:lnTo>
                    <a:pt x="444" y="696"/>
                  </a:lnTo>
                  <a:lnTo>
                    <a:pt x="457" y="696"/>
                  </a:lnTo>
                  <a:lnTo>
                    <a:pt x="484" y="696"/>
                  </a:lnTo>
                  <a:lnTo>
                    <a:pt x="484" y="681"/>
                  </a:lnTo>
                  <a:lnTo>
                    <a:pt x="500" y="696"/>
                  </a:lnTo>
                  <a:lnTo>
                    <a:pt x="515" y="696"/>
                  </a:lnTo>
                  <a:lnTo>
                    <a:pt x="556" y="681"/>
                  </a:lnTo>
                  <a:lnTo>
                    <a:pt x="570" y="667"/>
                  </a:lnTo>
                  <a:lnTo>
                    <a:pt x="585" y="655"/>
                  </a:lnTo>
                  <a:lnTo>
                    <a:pt x="626" y="655"/>
                  </a:lnTo>
                  <a:lnTo>
                    <a:pt x="626" y="667"/>
                  </a:lnTo>
                  <a:lnTo>
                    <a:pt x="657" y="667"/>
                  </a:lnTo>
                  <a:lnTo>
                    <a:pt x="671" y="681"/>
                  </a:lnTo>
                  <a:lnTo>
                    <a:pt x="686" y="696"/>
                  </a:lnTo>
                  <a:lnTo>
                    <a:pt x="698" y="681"/>
                  </a:lnTo>
                  <a:lnTo>
                    <a:pt x="713" y="681"/>
                  </a:lnTo>
                  <a:lnTo>
                    <a:pt x="727" y="696"/>
                  </a:lnTo>
                  <a:lnTo>
                    <a:pt x="754" y="710"/>
                  </a:lnTo>
                  <a:lnTo>
                    <a:pt x="754" y="696"/>
                  </a:lnTo>
                  <a:lnTo>
                    <a:pt x="785" y="710"/>
                  </a:lnTo>
                  <a:lnTo>
                    <a:pt x="785" y="725"/>
                  </a:lnTo>
                  <a:lnTo>
                    <a:pt x="785" y="739"/>
                  </a:lnTo>
                  <a:lnTo>
                    <a:pt x="799" y="739"/>
                  </a:lnTo>
                  <a:lnTo>
                    <a:pt x="799" y="768"/>
                  </a:lnTo>
                  <a:lnTo>
                    <a:pt x="799" y="795"/>
                  </a:lnTo>
                  <a:lnTo>
                    <a:pt x="799" y="811"/>
                  </a:lnTo>
                  <a:lnTo>
                    <a:pt x="812" y="811"/>
                  </a:lnTo>
                  <a:lnTo>
                    <a:pt x="826" y="811"/>
                  </a:lnTo>
                  <a:lnTo>
                    <a:pt x="841" y="840"/>
                  </a:lnTo>
                  <a:lnTo>
                    <a:pt x="841" y="869"/>
                  </a:lnTo>
                  <a:lnTo>
                    <a:pt x="857" y="869"/>
                  </a:lnTo>
                  <a:lnTo>
                    <a:pt x="870" y="869"/>
                  </a:lnTo>
                  <a:lnTo>
                    <a:pt x="870" y="880"/>
                  </a:lnTo>
                  <a:lnTo>
                    <a:pt x="870" y="896"/>
                  </a:lnTo>
                  <a:lnTo>
                    <a:pt x="884" y="911"/>
                  </a:lnTo>
                  <a:lnTo>
                    <a:pt x="899" y="925"/>
                  </a:lnTo>
                  <a:lnTo>
                    <a:pt x="913" y="940"/>
                  </a:lnTo>
                  <a:lnTo>
                    <a:pt x="913" y="954"/>
                  </a:lnTo>
                  <a:lnTo>
                    <a:pt x="913" y="954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99" name="Freeform 79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4160838" y="4425951"/>
              <a:ext cx="819150" cy="314325"/>
            </a:xfrm>
            <a:custGeom>
              <a:avLst/>
              <a:gdLst>
                <a:gd name="T0" fmla="*/ 537 w 620"/>
                <a:gd name="T1" fmla="*/ 228 h 257"/>
                <a:gd name="T2" fmla="*/ 525 w 620"/>
                <a:gd name="T3" fmla="*/ 228 h 257"/>
                <a:gd name="T4" fmla="*/ 494 w 620"/>
                <a:gd name="T5" fmla="*/ 228 h 257"/>
                <a:gd name="T6" fmla="*/ 460 w 620"/>
                <a:gd name="T7" fmla="*/ 228 h 257"/>
                <a:gd name="T8" fmla="*/ 440 w 620"/>
                <a:gd name="T9" fmla="*/ 248 h 257"/>
                <a:gd name="T10" fmla="*/ 407 w 620"/>
                <a:gd name="T11" fmla="*/ 257 h 257"/>
                <a:gd name="T12" fmla="*/ 375 w 620"/>
                <a:gd name="T13" fmla="*/ 248 h 257"/>
                <a:gd name="T14" fmla="*/ 354 w 620"/>
                <a:gd name="T15" fmla="*/ 248 h 257"/>
                <a:gd name="T16" fmla="*/ 310 w 620"/>
                <a:gd name="T17" fmla="*/ 228 h 257"/>
                <a:gd name="T18" fmla="*/ 268 w 620"/>
                <a:gd name="T19" fmla="*/ 228 h 257"/>
                <a:gd name="T20" fmla="*/ 236 w 620"/>
                <a:gd name="T21" fmla="*/ 209 h 257"/>
                <a:gd name="T22" fmla="*/ 213 w 620"/>
                <a:gd name="T23" fmla="*/ 180 h 257"/>
                <a:gd name="T24" fmla="*/ 172 w 620"/>
                <a:gd name="T25" fmla="*/ 180 h 257"/>
                <a:gd name="T26" fmla="*/ 139 w 620"/>
                <a:gd name="T27" fmla="*/ 172 h 257"/>
                <a:gd name="T28" fmla="*/ 107 w 620"/>
                <a:gd name="T29" fmla="*/ 191 h 257"/>
                <a:gd name="T30" fmla="*/ 95 w 620"/>
                <a:gd name="T31" fmla="*/ 172 h 257"/>
                <a:gd name="T32" fmla="*/ 32 w 620"/>
                <a:gd name="T33" fmla="*/ 162 h 257"/>
                <a:gd name="T34" fmla="*/ 10 w 620"/>
                <a:gd name="T35" fmla="*/ 143 h 257"/>
                <a:gd name="T36" fmla="*/ 10 w 620"/>
                <a:gd name="T37" fmla="*/ 124 h 257"/>
                <a:gd name="T38" fmla="*/ 32 w 620"/>
                <a:gd name="T39" fmla="*/ 105 h 257"/>
                <a:gd name="T40" fmla="*/ 64 w 620"/>
                <a:gd name="T41" fmla="*/ 124 h 257"/>
                <a:gd name="T42" fmla="*/ 95 w 620"/>
                <a:gd name="T43" fmla="*/ 124 h 257"/>
                <a:gd name="T44" fmla="*/ 127 w 620"/>
                <a:gd name="T45" fmla="*/ 124 h 257"/>
                <a:gd name="T46" fmla="*/ 161 w 620"/>
                <a:gd name="T47" fmla="*/ 113 h 257"/>
                <a:gd name="T48" fmla="*/ 192 w 620"/>
                <a:gd name="T49" fmla="*/ 124 h 257"/>
                <a:gd name="T50" fmla="*/ 236 w 620"/>
                <a:gd name="T51" fmla="*/ 113 h 257"/>
                <a:gd name="T52" fmla="*/ 259 w 620"/>
                <a:gd name="T53" fmla="*/ 113 h 257"/>
                <a:gd name="T54" fmla="*/ 288 w 620"/>
                <a:gd name="T55" fmla="*/ 133 h 257"/>
                <a:gd name="T56" fmla="*/ 300 w 620"/>
                <a:gd name="T57" fmla="*/ 143 h 257"/>
                <a:gd name="T58" fmla="*/ 310 w 620"/>
                <a:gd name="T59" fmla="*/ 124 h 257"/>
                <a:gd name="T60" fmla="*/ 300 w 620"/>
                <a:gd name="T61" fmla="*/ 95 h 257"/>
                <a:gd name="T62" fmla="*/ 288 w 620"/>
                <a:gd name="T63" fmla="*/ 57 h 257"/>
                <a:gd name="T64" fmla="*/ 342 w 620"/>
                <a:gd name="T65" fmla="*/ 37 h 257"/>
                <a:gd name="T66" fmla="*/ 364 w 620"/>
                <a:gd name="T67" fmla="*/ 28 h 257"/>
                <a:gd name="T68" fmla="*/ 385 w 620"/>
                <a:gd name="T69" fmla="*/ 19 h 257"/>
                <a:gd name="T70" fmla="*/ 440 w 620"/>
                <a:gd name="T71" fmla="*/ 28 h 257"/>
                <a:gd name="T72" fmla="*/ 450 w 620"/>
                <a:gd name="T73" fmla="*/ 0 h 257"/>
                <a:gd name="T74" fmla="*/ 494 w 620"/>
                <a:gd name="T75" fmla="*/ 0 h 257"/>
                <a:gd name="T76" fmla="*/ 525 w 620"/>
                <a:gd name="T77" fmla="*/ 9 h 257"/>
                <a:gd name="T78" fmla="*/ 569 w 620"/>
                <a:gd name="T79" fmla="*/ 19 h 257"/>
                <a:gd name="T80" fmla="*/ 590 w 620"/>
                <a:gd name="T81" fmla="*/ 37 h 257"/>
                <a:gd name="T82" fmla="*/ 620 w 620"/>
                <a:gd name="T83" fmla="*/ 47 h 257"/>
                <a:gd name="T84" fmla="*/ 612 w 620"/>
                <a:gd name="T85" fmla="*/ 76 h 257"/>
                <a:gd name="T86" fmla="*/ 612 w 620"/>
                <a:gd name="T87" fmla="*/ 124 h 257"/>
                <a:gd name="T88" fmla="*/ 600 w 620"/>
                <a:gd name="T89" fmla="*/ 124 h 257"/>
                <a:gd name="T90" fmla="*/ 578 w 620"/>
                <a:gd name="T91" fmla="*/ 133 h 257"/>
                <a:gd name="T92" fmla="*/ 590 w 620"/>
                <a:gd name="T93" fmla="*/ 162 h 257"/>
                <a:gd name="T94" fmla="*/ 569 w 620"/>
                <a:gd name="T95" fmla="*/ 200 h 257"/>
                <a:gd name="T96" fmla="*/ 546 w 620"/>
                <a:gd name="T97" fmla="*/ 228 h 257"/>
                <a:gd name="T98" fmla="*/ 546 w 620"/>
                <a:gd name="T99" fmla="*/ 21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20" h="257">
                  <a:moveTo>
                    <a:pt x="546" y="219"/>
                  </a:moveTo>
                  <a:lnTo>
                    <a:pt x="546" y="228"/>
                  </a:lnTo>
                  <a:lnTo>
                    <a:pt x="537" y="228"/>
                  </a:lnTo>
                  <a:lnTo>
                    <a:pt x="537" y="239"/>
                  </a:lnTo>
                  <a:lnTo>
                    <a:pt x="525" y="239"/>
                  </a:lnTo>
                  <a:lnTo>
                    <a:pt x="525" y="228"/>
                  </a:lnTo>
                  <a:lnTo>
                    <a:pt x="515" y="228"/>
                  </a:lnTo>
                  <a:lnTo>
                    <a:pt x="503" y="228"/>
                  </a:lnTo>
                  <a:lnTo>
                    <a:pt x="494" y="228"/>
                  </a:lnTo>
                  <a:lnTo>
                    <a:pt x="482" y="228"/>
                  </a:lnTo>
                  <a:lnTo>
                    <a:pt x="472" y="228"/>
                  </a:lnTo>
                  <a:lnTo>
                    <a:pt x="460" y="228"/>
                  </a:lnTo>
                  <a:lnTo>
                    <a:pt x="450" y="228"/>
                  </a:lnTo>
                  <a:lnTo>
                    <a:pt x="450" y="239"/>
                  </a:lnTo>
                  <a:lnTo>
                    <a:pt x="440" y="248"/>
                  </a:lnTo>
                  <a:lnTo>
                    <a:pt x="428" y="248"/>
                  </a:lnTo>
                  <a:lnTo>
                    <a:pt x="417" y="248"/>
                  </a:lnTo>
                  <a:lnTo>
                    <a:pt x="407" y="257"/>
                  </a:lnTo>
                  <a:lnTo>
                    <a:pt x="397" y="257"/>
                  </a:lnTo>
                  <a:lnTo>
                    <a:pt x="385" y="248"/>
                  </a:lnTo>
                  <a:lnTo>
                    <a:pt x="375" y="248"/>
                  </a:lnTo>
                  <a:lnTo>
                    <a:pt x="364" y="248"/>
                  </a:lnTo>
                  <a:lnTo>
                    <a:pt x="354" y="239"/>
                  </a:lnTo>
                  <a:lnTo>
                    <a:pt x="354" y="248"/>
                  </a:lnTo>
                  <a:lnTo>
                    <a:pt x="332" y="239"/>
                  </a:lnTo>
                  <a:lnTo>
                    <a:pt x="322" y="239"/>
                  </a:lnTo>
                  <a:lnTo>
                    <a:pt x="310" y="228"/>
                  </a:lnTo>
                  <a:lnTo>
                    <a:pt x="288" y="228"/>
                  </a:lnTo>
                  <a:lnTo>
                    <a:pt x="279" y="228"/>
                  </a:lnTo>
                  <a:lnTo>
                    <a:pt x="268" y="228"/>
                  </a:lnTo>
                  <a:lnTo>
                    <a:pt x="259" y="228"/>
                  </a:lnTo>
                  <a:lnTo>
                    <a:pt x="247" y="219"/>
                  </a:lnTo>
                  <a:lnTo>
                    <a:pt x="236" y="209"/>
                  </a:lnTo>
                  <a:lnTo>
                    <a:pt x="236" y="200"/>
                  </a:lnTo>
                  <a:lnTo>
                    <a:pt x="225" y="191"/>
                  </a:lnTo>
                  <a:lnTo>
                    <a:pt x="213" y="180"/>
                  </a:lnTo>
                  <a:lnTo>
                    <a:pt x="192" y="180"/>
                  </a:lnTo>
                  <a:lnTo>
                    <a:pt x="182" y="180"/>
                  </a:lnTo>
                  <a:lnTo>
                    <a:pt x="172" y="180"/>
                  </a:lnTo>
                  <a:lnTo>
                    <a:pt x="161" y="180"/>
                  </a:lnTo>
                  <a:lnTo>
                    <a:pt x="149" y="172"/>
                  </a:lnTo>
                  <a:lnTo>
                    <a:pt x="139" y="172"/>
                  </a:lnTo>
                  <a:lnTo>
                    <a:pt x="139" y="180"/>
                  </a:lnTo>
                  <a:lnTo>
                    <a:pt x="118" y="191"/>
                  </a:lnTo>
                  <a:lnTo>
                    <a:pt x="107" y="191"/>
                  </a:lnTo>
                  <a:lnTo>
                    <a:pt x="95" y="191"/>
                  </a:lnTo>
                  <a:lnTo>
                    <a:pt x="95" y="180"/>
                  </a:lnTo>
                  <a:lnTo>
                    <a:pt x="95" y="172"/>
                  </a:lnTo>
                  <a:lnTo>
                    <a:pt x="85" y="172"/>
                  </a:lnTo>
                  <a:lnTo>
                    <a:pt x="44" y="172"/>
                  </a:lnTo>
                  <a:lnTo>
                    <a:pt x="32" y="162"/>
                  </a:lnTo>
                  <a:lnTo>
                    <a:pt x="22" y="152"/>
                  </a:lnTo>
                  <a:lnTo>
                    <a:pt x="10" y="152"/>
                  </a:lnTo>
                  <a:lnTo>
                    <a:pt x="10" y="143"/>
                  </a:lnTo>
                  <a:lnTo>
                    <a:pt x="0" y="143"/>
                  </a:lnTo>
                  <a:lnTo>
                    <a:pt x="0" y="133"/>
                  </a:lnTo>
                  <a:lnTo>
                    <a:pt x="10" y="124"/>
                  </a:lnTo>
                  <a:lnTo>
                    <a:pt x="10" y="113"/>
                  </a:lnTo>
                  <a:lnTo>
                    <a:pt x="22" y="105"/>
                  </a:lnTo>
                  <a:lnTo>
                    <a:pt x="32" y="105"/>
                  </a:lnTo>
                  <a:lnTo>
                    <a:pt x="44" y="113"/>
                  </a:lnTo>
                  <a:lnTo>
                    <a:pt x="54" y="124"/>
                  </a:lnTo>
                  <a:lnTo>
                    <a:pt x="64" y="124"/>
                  </a:lnTo>
                  <a:lnTo>
                    <a:pt x="74" y="133"/>
                  </a:lnTo>
                  <a:lnTo>
                    <a:pt x="85" y="124"/>
                  </a:lnTo>
                  <a:lnTo>
                    <a:pt x="95" y="124"/>
                  </a:lnTo>
                  <a:lnTo>
                    <a:pt x="107" y="105"/>
                  </a:lnTo>
                  <a:lnTo>
                    <a:pt x="127" y="113"/>
                  </a:lnTo>
                  <a:lnTo>
                    <a:pt x="127" y="124"/>
                  </a:lnTo>
                  <a:lnTo>
                    <a:pt x="139" y="124"/>
                  </a:lnTo>
                  <a:lnTo>
                    <a:pt x="149" y="124"/>
                  </a:lnTo>
                  <a:lnTo>
                    <a:pt x="161" y="113"/>
                  </a:lnTo>
                  <a:lnTo>
                    <a:pt x="172" y="124"/>
                  </a:lnTo>
                  <a:lnTo>
                    <a:pt x="182" y="124"/>
                  </a:lnTo>
                  <a:lnTo>
                    <a:pt x="192" y="124"/>
                  </a:lnTo>
                  <a:lnTo>
                    <a:pt x="204" y="113"/>
                  </a:lnTo>
                  <a:lnTo>
                    <a:pt x="213" y="113"/>
                  </a:lnTo>
                  <a:lnTo>
                    <a:pt x="236" y="113"/>
                  </a:lnTo>
                  <a:lnTo>
                    <a:pt x="247" y="113"/>
                  </a:lnTo>
                  <a:lnTo>
                    <a:pt x="259" y="124"/>
                  </a:lnTo>
                  <a:lnTo>
                    <a:pt x="259" y="113"/>
                  </a:lnTo>
                  <a:lnTo>
                    <a:pt x="268" y="113"/>
                  </a:lnTo>
                  <a:lnTo>
                    <a:pt x="288" y="124"/>
                  </a:lnTo>
                  <a:lnTo>
                    <a:pt x="288" y="133"/>
                  </a:lnTo>
                  <a:lnTo>
                    <a:pt x="288" y="143"/>
                  </a:lnTo>
                  <a:lnTo>
                    <a:pt x="300" y="152"/>
                  </a:lnTo>
                  <a:lnTo>
                    <a:pt x="300" y="143"/>
                  </a:lnTo>
                  <a:lnTo>
                    <a:pt x="310" y="143"/>
                  </a:lnTo>
                  <a:lnTo>
                    <a:pt x="310" y="133"/>
                  </a:lnTo>
                  <a:lnTo>
                    <a:pt x="310" y="124"/>
                  </a:lnTo>
                  <a:lnTo>
                    <a:pt x="300" y="113"/>
                  </a:lnTo>
                  <a:lnTo>
                    <a:pt x="300" y="105"/>
                  </a:lnTo>
                  <a:lnTo>
                    <a:pt x="300" y="95"/>
                  </a:lnTo>
                  <a:lnTo>
                    <a:pt x="288" y="85"/>
                  </a:lnTo>
                  <a:lnTo>
                    <a:pt x="288" y="76"/>
                  </a:lnTo>
                  <a:lnTo>
                    <a:pt x="288" y="57"/>
                  </a:lnTo>
                  <a:lnTo>
                    <a:pt x="322" y="57"/>
                  </a:lnTo>
                  <a:lnTo>
                    <a:pt x="332" y="47"/>
                  </a:lnTo>
                  <a:lnTo>
                    <a:pt x="342" y="37"/>
                  </a:lnTo>
                  <a:lnTo>
                    <a:pt x="342" y="28"/>
                  </a:lnTo>
                  <a:lnTo>
                    <a:pt x="354" y="28"/>
                  </a:lnTo>
                  <a:lnTo>
                    <a:pt x="364" y="28"/>
                  </a:lnTo>
                  <a:lnTo>
                    <a:pt x="375" y="28"/>
                  </a:lnTo>
                  <a:lnTo>
                    <a:pt x="375" y="19"/>
                  </a:lnTo>
                  <a:lnTo>
                    <a:pt x="385" y="19"/>
                  </a:lnTo>
                  <a:lnTo>
                    <a:pt x="397" y="28"/>
                  </a:lnTo>
                  <a:lnTo>
                    <a:pt x="417" y="28"/>
                  </a:lnTo>
                  <a:lnTo>
                    <a:pt x="440" y="28"/>
                  </a:lnTo>
                  <a:lnTo>
                    <a:pt x="450" y="19"/>
                  </a:lnTo>
                  <a:lnTo>
                    <a:pt x="450" y="9"/>
                  </a:lnTo>
                  <a:lnTo>
                    <a:pt x="450" y="0"/>
                  </a:lnTo>
                  <a:lnTo>
                    <a:pt x="460" y="0"/>
                  </a:lnTo>
                  <a:lnTo>
                    <a:pt x="482" y="0"/>
                  </a:lnTo>
                  <a:lnTo>
                    <a:pt x="494" y="0"/>
                  </a:lnTo>
                  <a:lnTo>
                    <a:pt x="503" y="0"/>
                  </a:lnTo>
                  <a:lnTo>
                    <a:pt x="515" y="9"/>
                  </a:lnTo>
                  <a:lnTo>
                    <a:pt x="525" y="9"/>
                  </a:lnTo>
                  <a:lnTo>
                    <a:pt x="546" y="9"/>
                  </a:lnTo>
                  <a:lnTo>
                    <a:pt x="558" y="19"/>
                  </a:lnTo>
                  <a:lnTo>
                    <a:pt x="569" y="19"/>
                  </a:lnTo>
                  <a:lnTo>
                    <a:pt x="569" y="28"/>
                  </a:lnTo>
                  <a:lnTo>
                    <a:pt x="578" y="37"/>
                  </a:lnTo>
                  <a:lnTo>
                    <a:pt x="590" y="37"/>
                  </a:lnTo>
                  <a:lnTo>
                    <a:pt x="600" y="37"/>
                  </a:lnTo>
                  <a:lnTo>
                    <a:pt x="612" y="37"/>
                  </a:lnTo>
                  <a:lnTo>
                    <a:pt x="620" y="47"/>
                  </a:lnTo>
                  <a:lnTo>
                    <a:pt x="612" y="57"/>
                  </a:lnTo>
                  <a:lnTo>
                    <a:pt x="620" y="76"/>
                  </a:lnTo>
                  <a:lnTo>
                    <a:pt x="612" y="76"/>
                  </a:lnTo>
                  <a:lnTo>
                    <a:pt x="620" y="95"/>
                  </a:lnTo>
                  <a:lnTo>
                    <a:pt x="620" y="113"/>
                  </a:lnTo>
                  <a:lnTo>
                    <a:pt x="612" y="124"/>
                  </a:lnTo>
                  <a:lnTo>
                    <a:pt x="612" y="133"/>
                  </a:lnTo>
                  <a:lnTo>
                    <a:pt x="600" y="133"/>
                  </a:lnTo>
                  <a:lnTo>
                    <a:pt x="600" y="124"/>
                  </a:lnTo>
                  <a:lnTo>
                    <a:pt x="590" y="124"/>
                  </a:lnTo>
                  <a:lnTo>
                    <a:pt x="578" y="124"/>
                  </a:lnTo>
                  <a:lnTo>
                    <a:pt x="578" y="133"/>
                  </a:lnTo>
                  <a:lnTo>
                    <a:pt x="590" y="143"/>
                  </a:lnTo>
                  <a:lnTo>
                    <a:pt x="590" y="152"/>
                  </a:lnTo>
                  <a:lnTo>
                    <a:pt x="590" y="162"/>
                  </a:lnTo>
                  <a:lnTo>
                    <a:pt x="578" y="162"/>
                  </a:lnTo>
                  <a:lnTo>
                    <a:pt x="578" y="180"/>
                  </a:lnTo>
                  <a:lnTo>
                    <a:pt x="569" y="200"/>
                  </a:lnTo>
                  <a:lnTo>
                    <a:pt x="557" y="206"/>
                  </a:lnTo>
                  <a:lnTo>
                    <a:pt x="546" y="219"/>
                  </a:lnTo>
                  <a:lnTo>
                    <a:pt x="546" y="228"/>
                  </a:lnTo>
                  <a:lnTo>
                    <a:pt x="546" y="219"/>
                  </a:lnTo>
                  <a:lnTo>
                    <a:pt x="546" y="219"/>
                  </a:lnTo>
                  <a:lnTo>
                    <a:pt x="546" y="219"/>
                  </a:lnTo>
                  <a:close/>
                </a:path>
              </a:pathLst>
            </a:custGeom>
            <a:solidFill>
              <a:srgbClr val="FF0000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FFFFFF"/>
                </a:solidFill>
              </a:endParaRPr>
            </a:p>
          </p:txBody>
        </p:sp>
        <p:sp>
          <p:nvSpPr>
            <p:cNvPr id="300" name="Freeform 80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3570288" y="3979863"/>
              <a:ext cx="334963" cy="282575"/>
            </a:xfrm>
            <a:custGeom>
              <a:avLst/>
              <a:gdLst>
                <a:gd name="T0" fmla="*/ 224 w 253"/>
                <a:gd name="T1" fmla="*/ 39 h 232"/>
                <a:gd name="T2" fmla="*/ 202 w 253"/>
                <a:gd name="T3" fmla="*/ 20 h 232"/>
                <a:gd name="T4" fmla="*/ 182 w 253"/>
                <a:gd name="T5" fmla="*/ 28 h 232"/>
                <a:gd name="T6" fmla="*/ 139 w 253"/>
                <a:gd name="T7" fmla="*/ 9 h 232"/>
                <a:gd name="T8" fmla="*/ 117 w 253"/>
                <a:gd name="T9" fmla="*/ 20 h 232"/>
                <a:gd name="T10" fmla="*/ 94 w 253"/>
                <a:gd name="T11" fmla="*/ 28 h 232"/>
                <a:gd name="T12" fmla="*/ 75 w 253"/>
                <a:gd name="T13" fmla="*/ 28 h 232"/>
                <a:gd name="T14" fmla="*/ 65 w 253"/>
                <a:gd name="T15" fmla="*/ 9 h 232"/>
                <a:gd name="T16" fmla="*/ 53 w 253"/>
                <a:gd name="T17" fmla="*/ 0 h 232"/>
                <a:gd name="T18" fmla="*/ 32 w 253"/>
                <a:gd name="T19" fmla="*/ 9 h 232"/>
                <a:gd name="T20" fmla="*/ 20 w 253"/>
                <a:gd name="T21" fmla="*/ 9 h 232"/>
                <a:gd name="T22" fmla="*/ 0 w 253"/>
                <a:gd name="T23" fmla="*/ 28 h 232"/>
                <a:gd name="T24" fmla="*/ 0 w 253"/>
                <a:gd name="T25" fmla="*/ 48 h 232"/>
                <a:gd name="T26" fmla="*/ 12 w 253"/>
                <a:gd name="T27" fmla="*/ 68 h 232"/>
                <a:gd name="T28" fmla="*/ 32 w 253"/>
                <a:gd name="T29" fmla="*/ 68 h 232"/>
                <a:gd name="T30" fmla="*/ 32 w 253"/>
                <a:gd name="T31" fmla="*/ 86 h 232"/>
                <a:gd name="T32" fmla="*/ 53 w 253"/>
                <a:gd name="T33" fmla="*/ 86 h 232"/>
                <a:gd name="T34" fmla="*/ 65 w 253"/>
                <a:gd name="T35" fmla="*/ 114 h 232"/>
                <a:gd name="T36" fmla="*/ 85 w 253"/>
                <a:gd name="T37" fmla="*/ 114 h 232"/>
                <a:gd name="T38" fmla="*/ 94 w 253"/>
                <a:gd name="T39" fmla="*/ 134 h 232"/>
                <a:gd name="T40" fmla="*/ 85 w 253"/>
                <a:gd name="T41" fmla="*/ 154 h 232"/>
                <a:gd name="T42" fmla="*/ 106 w 253"/>
                <a:gd name="T43" fmla="*/ 164 h 232"/>
                <a:gd name="T44" fmla="*/ 117 w 253"/>
                <a:gd name="T45" fmla="*/ 154 h 232"/>
                <a:gd name="T46" fmla="*/ 129 w 253"/>
                <a:gd name="T47" fmla="*/ 164 h 232"/>
                <a:gd name="T48" fmla="*/ 139 w 253"/>
                <a:gd name="T49" fmla="*/ 184 h 232"/>
                <a:gd name="T50" fmla="*/ 149 w 253"/>
                <a:gd name="T51" fmla="*/ 202 h 232"/>
                <a:gd name="T52" fmla="*/ 170 w 253"/>
                <a:gd name="T53" fmla="*/ 212 h 232"/>
                <a:gd name="T54" fmla="*/ 182 w 253"/>
                <a:gd name="T55" fmla="*/ 232 h 232"/>
                <a:gd name="T56" fmla="*/ 208 w 253"/>
                <a:gd name="T57" fmla="*/ 222 h 232"/>
                <a:gd name="T58" fmla="*/ 205 w 253"/>
                <a:gd name="T59" fmla="*/ 193 h 232"/>
                <a:gd name="T60" fmla="*/ 205 w 253"/>
                <a:gd name="T61" fmla="*/ 173 h 232"/>
                <a:gd name="T62" fmla="*/ 225 w 253"/>
                <a:gd name="T63" fmla="*/ 154 h 232"/>
                <a:gd name="T64" fmla="*/ 236 w 253"/>
                <a:gd name="T65" fmla="*/ 144 h 232"/>
                <a:gd name="T66" fmla="*/ 250 w 253"/>
                <a:gd name="T67" fmla="*/ 138 h 232"/>
                <a:gd name="T68" fmla="*/ 245 w 253"/>
                <a:gd name="T69" fmla="*/ 114 h 232"/>
                <a:gd name="T70" fmla="*/ 253 w 253"/>
                <a:gd name="T71" fmla="*/ 88 h 232"/>
                <a:gd name="T72" fmla="*/ 250 w 253"/>
                <a:gd name="T73" fmla="*/ 67 h 232"/>
                <a:gd name="T74" fmla="*/ 245 w 253"/>
                <a:gd name="T75" fmla="*/ 57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3" h="232">
                  <a:moveTo>
                    <a:pt x="245" y="57"/>
                  </a:moveTo>
                  <a:lnTo>
                    <a:pt x="224" y="39"/>
                  </a:lnTo>
                  <a:lnTo>
                    <a:pt x="213" y="28"/>
                  </a:lnTo>
                  <a:lnTo>
                    <a:pt x="202" y="20"/>
                  </a:lnTo>
                  <a:lnTo>
                    <a:pt x="192" y="20"/>
                  </a:lnTo>
                  <a:lnTo>
                    <a:pt x="182" y="28"/>
                  </a:lnTo>
                  <a:lnTo>
                    <a:pt x="170" y="20"/>
                  </a:lnTo>
                  <a:lnTo>
                    <a:pt x="139" y="9"/>
                  </a:lnTo>
                  <a:lnTo>
                    <a:pt x="129" y="9"/>
                  </a:lnTo>
                  <a:lnTo>
                    <a:pt x="117" y="20"/>
                  </a:lnTo>
                  <a:lnTo>
                    <a:pt x="117" y="28"/>
                  </a:lnTo>
                  <a:lnTo>
                    <a:pt x="94" y="28"/>
                  </a:lnTo>
                  <a:lnTo>
                    <a:pt x="85" y="28"/>
                  </a:lnTo>
                  <a:lnTo>
                    <a:pt x="75" y="28"/>
                  </a:lnTo>
                  <a:lnTo>
                    <a:pt x="75" y="20"/>
                  </a:lnTo>
                  <a:lnTo>
                    <a:pt x="65" y="9"/>
                  </a:lnTo>
                  <a:lnTo>
                    <a:pt x="53" y="9"/>
                  </a:lnTo>
                  <a:lnTo>
                    <a:pt x="53" y="0"/>
                  </a:lnTo>
                  <a:lnTo>
                    <a:pt x="41" y="0"/>
                  </a:lnTo>
                  <a:lnTo>
                    <a:pt x="32" y="9"/>
                  </a:lnTo>
                  <a:lnTo>
                    <a:pt x="20" y="0"/>
                  </a:lnTo>
                  <a:lnTo>
                    <a:pt x="20" y="9"/>
                  </a:lnTo>
                  <a:lnTo>
                    <a:pt x="0" y="20"/>
                  </a:lnTo>
                  <a:lnTo>
                    <a:pt x="0" y="28"/>
                  </a:lnTo>
                  <a:lnTo>
                    <a:pt x="0" y="39"/>
                  </a:lnTo>
                  <a:lnTo>
                    <a:pt x="0" y="48"/>
                  </a:lnTo>
                  <a:lnTo>
                    <a:pt x="12" y="57"/>
                  </a:lnTo>
                  <a:lnTo>
                    <a:pt x="12" y="68"/>
                  </a:lnTo>
                  <a:lnTo>
                    <a:pt x="20" y="68"/>
                  </a:lnTo>
                  <a:lnTo>
                    <a:pt x="32" y="68"/>
                  </a:lnTo>
                  <a:lnTo>
                    <a:pt x="32" y="77"/>
                  </a:lnTo>
                  <a:lnTo>
                    <a:pt x="32" y="86"/>
                  </a:lnTo>
                  <a:lnTo>
                    <a:pt x="41" y="86"/>
                  </a:lnTo>
                  <a:lnTo>
                    <a:pt x="53" y="86"/>
                  </a:lnTo>
                  <a:lnTo>
                    <a:pt x="53" y="96"/>
                  </a:lnTo>
                  <a:lnTo>
                    <a:pt x="65" y="114"/>
                  </a:lnTo>
                  <a:lnTo>
                    <a:pt x="75" y="114"/>
                  </a:lnTo>
                  <a:lnTo>
                    <a:pt x="85" y="114"/>
                  </a:lnTo>
                  <a:lnTo>
                    <a:pt x="94" y="114"/>
                  </a:lnTo>
                  <a:lnTo>
                    <a:pt x="94" y="134"/>
                  </a:lnTo>
                  <a:lnTo>
                    <a:pt x="94" y="145"/>
                  </a:lnTo>
                  <a:lnTo>
                    <a:pt x="85" y="154"/>
                  </a:lnTo>
                  <a:lnTo>
                    <a:pt x="94" y="164"/>
                  </a:lnTo>
                  <a:lnTo>
                    <a:pt x="106" y="164"/>
                  </a:lnTo>
                  <a:lnTo>
                    <a:pt x="117" y="164"/>
                  </a:lnTo>
                  <a:lnTo>
                    <a:pt x="117" y="154"/>
                  </a:lnTo>
                  <a:lnTo>
                    <a:pt x="129" y="154"/>
                  </a:lnTo>
                  <a:lnTo>
                    <a:pt x="129" y="164"/>
                  </a:lnTo>
                  <a:lnTo>
                    <a:pt x="139" y="173"/>
                  </a:lnTo>
                  <a:lnTo>
                    <a:pt x="139" y="184"/>
                  </a:lnTo>
                  <a:lnTo>
                    <a:pt x="149" y="193"/>
                  </a:lnTo>
                  <a:lnTo>
                    <a:pt x="149" y="202"/>
                  </a:lnTo>
                  <a:lnTo>
                    <a:pt x="159" y="202"/>
                  </a:lnTo>
                  <a:lnTo>
                    <a:pt x="170" y="212"/>
                  </a:lnTo>
                  <a:lnTo>
                    <a:pt x="182" y="221"/>
                  </a:lnTo>
                  <a:lnTo>
                    <a:pt x="182" y="232"/>
                  </a:lnTo>
                  <a:lnTo>
                    <a:pt x="192" y="221"/>
                  </a:lnTo>
                  <a:lnTo>
                    <a:pt x="208" y="222"/>
                  </a:lnTo>
                  <a:lnTo>
                    <a:pt x="215" y="208"/>
                  </a:lnTo>
                  <a:lnTo>
                    <a:pt x="205" y="193"/>
                  </a:lnTo>
                  <a:lnTo>
                    <a:pt x="205" y="184"/>
                  </a:lnTo>
                  <a:lnTo>
                    <a:pt x="205" y="173"/>
                  </a:lnTo>
                  <a:lnTo>
                    <a:pt x="215" y="164"/>
                  </a:lnTo>
                  <a:lnTo>
                    <a:pt x="225" y="154"/>
                  </a:lnTo>
                  <a:lnTo>
                    <a:pt x="238" y="163"/>
                  </a:lnTo>
                  <a:lnTo>
                    <a:pt x="236" y="144"/>
                  </a:lnTo>
                  <a:lnTo>
                    <a:pt x="238" y="138"/>
                  </a:lnTo>
                  <a:lnTo>
                    <a:pt x="250" y="138"/>
                  </a:lnTo>
                  <a:lnTo>
                    <a:pt x="250" y="124"/>
                  </a:lnTo>
                  <a:lnTo>
                    <a:pt x="245" y="114"/>
                  </a:lnTo>
                  <a:lnTo>
                    <a:pt x="246" y="103"/>
                  </a:lnTo>
                  <a:lnTo>
                    <a:pt x="253" y="88"/>
                  </a:lnTo>
                  <a:lnTo>
                    <a:pt x="248" y="76"/>
                  </a:lnTo>
                  <a:lnTo>
                    <a:pt x="250" y="67"/>
                  </a:lnTo>
                  <a:lnTo>
                    <a:pt x="245" y="57"/>
                  </a:lnTo>
                  <a:lnTo>
                    <a:pt x="245" y="57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01" name="Freeform 81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3732213" y="3771901"/>
              <a:ext cx="381000" cy="295275"/>
            </a:xfrm>
            <a:custGeom>
              <a:avLst/>
              <a:gdLst>
                <a:gd name="T0" fmla="*/ 256 w 289"/>
                <a:gd name="T1" fmla="*/ 38 h 242"/>
                <a:gd name="T2" fmla="*/ 246 w 289"/>
                <a:gd name="T3" fmla="*/ 0 h 242"/>
                <a:gd name="T4" fmla="*/ 226 w 289"/>
                <a:gd name="T5" fmla="*/ 9 h 242"/>
                <a:gd name="T6" fmla="*/ 205 w 289"/>
                <a:gd name="T7" fmla="*/ 9 h 242"/>
                <a:gd name="T8" fmla="*/ 193 w 289"/>
                <a:gd name="T9" fmla="*/ 9 h 242"/>
                <a:gd name="T10" fmla="*/ 171 w 289"/>
                <a:gd name="T11" fmla="*/ 9 h 242"/>
                <a:gd name="T12" fmla="*/ 139 w 289"/>
                <a:gd name="T13" fmla="*/ 30 h 242"/>
                <a:gd name="T14" fmla="*/ 139 w 289"/>
                <a:gd name="T15" fmla="*/ 49 h 242"/>
                <a:gd name="T16" fmla="*/ 139 w 289"/>
                <a:gd name="T17" fmla="*/ 68 h 242"/>
                <a:gd name="T18" fmla="*/ 116 w 289"/>
                <a:gd name="T19" fmla="*/ 106 h 242"/>
                <a:gd name="T20" fmla="*/ 96 w 289"/>
                <a:gd name="T21" fmla="*/ 106 h 242"/>
                <a:gd name="T22" fmla="*/ 107 w 289"/>
                <a:gd name="T23" fmla="*/ 77 h 242"/>
                <a:gd name="T24" fmla="*/ 107 w 289"/>
                <a:gd name="T25" fmla="*/ 68 h 242"/>
                <a:gd name="T26" fmla="*/ 116 w 289"/>
                <a:gd name="T27" fmla="*/ 49 h 242"/>
                <a:gd name="T28" fmla="*/ 85 w 289"/>
                <a:gd name="T29" fmla="*/ 38 h 242"/>
                <a:gd name="T30" fmla="*/ 85 w 289"/>
                <a:gd name="T31" fmla="*/ 38 h 242"/>
                <a:gd name="T32" fmla="*/ 75 w 289"/>
                <a:gd name="T33" fmla="*/ 77 h 242"/>
                <a:gd name="T34" fmla="*/ 64 w 289"/>
                <a:gd name="T35" fmla="*/ 96 h 242"/>
                <a:gd name="T36" fmla="*/ 53 w 289"/>
                <a:gd name="T37" fmla="*/ 106 h 242"/>
                <a:gd name="T38" fmla="*/ 21 w 289"/>
                <a:gd name="T39" fmla="*/ 116 h 242"/>
                <a:gd name="T40" fmla="*/ 32 w 289"/>
                <a:gd name="T41" fmla="*/ 136 h 242"/>
                <a:gd name="T42" fmla="*/ 12 w 289"/>
                <a:gd name="T43" fmla="*/ 154 h 242"/>
                <a:gd name="T44" fmla="*/ 0 w 289"/>
                <a:gd name="T45" fmla="*/ 136 h 242"/>
                <a:gd name="T46" fmla="*/ 0 w 289"/>
                <a:gd name="T47" fmla="*/ 154 h 242"/>
                <a:gd name="T48" fmla="*/ 12 w 289"/>
                <a:gd name="T49" fmla="*/ 174 h 242"/>
                <a:gd name="T50" fmla="*/ 53 w 289"/>
                <a:gd name="T51" fmla="*/ 193 h 242"/>
                <a:gd name="T52" fmla="*/ 64 w 289"/>
                <a:gd name="T53" fmla="*/ 202 h 242"/>
                <a:gd name="T54" fmla="*/ 85 w 289"/>
                <a:gd name="T55" fmla="*/ 193 h 242"/>
                <a:gd name="T56" fmla="*/ 107 w 289"/>
                <a:gd name="T57" fmla="*/ 213 h 242"/>
                <a:gd name="T58" fmla="*/ 128 w 289"/>
                <a:gd name="T59" fmla="*/ 242 h 242"/>
                <a:gd name="T60" fmla="*/ 150 w 289"/>
                <a:gd name="T61" fmla="*/ 222 h 242"/>
                <a:gd name="T62" fmla="*/ 150 w 289"/>
                <a:gd name="T63" fmla="*/ 193 h 242"/>
                <a:gd name="T64" fmla="*/ 171 w 289"/>
                <a:gd name="T65" fmla="*/ 174 h 242"/>
                <a:gd name="T66" fmla="*/ 207 w 289"/>
                <a:gd name="T67" fmla="*/ 177 h 242"/>
                <a:gd name="T68" fmla="*/ 236 w 289"/>
                <a:gd name="T69" fmla="*/ 174 h 242"/>
                <a:gd name="T70" fmla="*/ 256 w 289"/>
                <a:gd name="T71" fmla="*/ 174 h 242"/>
                <a:gd name="T72" fmla="*/ 266 w 289"/>
                <a:gd name="T73" fmla="*/ 136 h 242"/>
                <a:gd name="T74" fmla="*/ 266 w 289"/>
                <a:gd name="T75" fmla="*/ 116 h 242"/>
                <a:gd name="T76" fmla="*/ 266 w 289"/>
                <a:gd name="T77" fmla="*/ 88 h 242"/>
                <a:gd name="T78" fmla="*/ 278 w 289"/>
                <a:gd name="T79" fmla="*/ 77 h 242"/>
                <a:gd name="T80" fmla="*/ 278 w 289"/>
                <a:gd name="T81" fmla="*/ 57 h 242"/>
                <a:gd name="T82" fmla="*/ 289 w 289"/>
                <a:gd name="T83" fmla="*/ 38 h 242"/>
                <a:gd name="T84" fmla="*/ 266 w 289"/>
                <a:gd name="T85" fmla="*/ 38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9" h="242">
                  <a:moveTo>
                    <a:pt x="266" y="38"/>
                  </a:moveTo>
                  <a:lnTo>
                    <a:pt x="256" y="38"/>
                  </a:lnTo>
                  <a:lnTo>
                    <a:pt x="256" y="0"/>
                  </a:lnTo>
                  <a:lnTo>
                    <a:pt x="246" y="0"/>
                  </a:lnTo>
                  <a:lnTo>
                    <a:pt x="236" y="0"/>
                  </a:lnTo>
                  <a:lnTo>
                    <a:pt x="226" y="9"/>
                  </a:lnTo>
                  <a:lnTo>
                    <a:pt x="205" y="20"/>
                  </a:lnTo>
                  <a:lnTo>
                    <a:pt x="205" y="9"/>
                  </a:lnTo>
                  <a:lnTo>
                    <a:pt x="205" y="0"/>
                  </a:lnTo>
                  <a:lnTo>
                    <a:pt x="193" y="9"/>
                  </a:lnTo>
                  <a:lnTo>
                    <a:pt x="182" y="9"/>
                  </a:lnTo>
                  <a:lnTo>
                    <a:pt x="171" y="9"/>
                  </a:lnTo>
                  <a:lnTo>
                    <a:pt x="150" y="20"/>
                  </a:lnTo>
                  <a:lnTo>
                    <a:pt x="139" y="30"/>
                  </a:lnTo>
                  <a:lnTo>
                    <a:pt x="139" y="38"/>
                  </a:lnTo>
                  <a:lnTo>
                    <a:pt x="139" y="49"/>
                  </a:lnTo>
                  <a:lnTo>
                    <a:pt x="139" y="57"/>
                  </a:lnTo>
                  <a:lnTo>
                    <a:pt x="139" y="68"/>
                  </a:lnTo>
                  <a:lnTo>
                    <a:pt x="139" y="88"/>
                  </a:lnTo>
                  <a:lnTo>
                    <a:pt x="116" y="106"/>
                  </a:lnTo>
                  <a:lnTo>
                    <a:pt x="107" y="106"/>
                  </a:lnTo>
                  <a:lnTo>
                    <a:pt x="96" y="106"/>
                  </a:lnTo>
                  <a:lnTo>
                    <a:pt x="96" y="88"/>
                  </a:lnTo>
                  <a:lnTo>
                    <a:pt x="107" y="77"/>
                  </a:lnTo>
                  <a:lnTo>
                    <a:pt x="96" y="77"/>
                  </a:lnTo>
                  <a:lnTo>
                    <a:pt x="107" y="68"/>
                  </a:lnTo>
                  <a:lnTo>
                    <a:pt x="116" y="57"/>
                  </a:lnTo>
                  <a:lnTo>
                    <a:pt x="116" y="49"/>
                  </a:lnTo>
                  <a:lnTo>
                    <a:pt x="107" y="38"/>
                  </a:lnTo>
                  <a:lnTo>
                    <a:pt x="85" y="38"/>
                  </a:lnTo>
                  <a:lnTo>
                    <a:pt x="85" y="30"/>
                  </a:lnTo>
                  <a:lnTo>
                    <a:pt x="85" y="38"/>
                  </a:lnTo>
                  <a:lnTo>
                    <a:pt x="75" y="57"/>
                  </a:lnTo>
                  <a:lnTo>
                    <a:pt x="75" y="77"/>
                  </a:lnTo>
                  <a:lnTo>
                    <a:pt x="64" y="88"/>
                  </a:lnTo>
                  <a:lnTo>
                    <a:pt x="64" y="96"/>
                  </a:lnTo>
                  <a:lnTo>
                    <a:pt x="53" y="96"/>
                  </a:lnTo>
                  <a:lnTo>
                    <a:pt x="53" y="106"/>
                  </a:lnTo>
                  <a:lnTo>
                    <a:pt x="42" y="116"/>
                  </a:lnTo>
                  <a:lnTo>
                    <a:pt x="21" y="116"/>
                  </a:lnTo>
                  <a:lnTo>
                    <a:pt x="21" y="136"/>
                  </a:lnTo>
                  <a:lnTo>
                    <a:pt x="32" y="136"/>
                  </a:lnTo>
                  <a:lnTo>
                    <a:pt x="32" y="145"/>
                  </a:lnTo>
                  <a:lnTo>
                    <a:pt x="12" y="154"/>
                  </a:lnTo>
                  <a:lnTo>
                    <a:pt x="12" y="136"/>
                  </a:lnTo>
                  <a:lnTo>
                    <a:pt x="0" y="136"/>
                  </a:lnTo>
                  <a:lnTo>
                    <a:pt x="0" y="145"/>
                  </a:lnTo>
                  <a:lnTo>
                    <a:pt x="0" y="154"/>
                  </a:lnTo>
                  <a:lnTo>
                    <a:pt x="0" y="174"/>
                  </a:lnTo>
                  <a:lnTo>
                    <a:pt x="12" y="174"/>
                  </a:lnTo>
                  <a:lnTo>
                    <a:pt x="21" y="184"/>
                  </a:lnTo>
                  <a:lnTo>
                    <a:pt x="53" y="193"/>
                  </a:lnTo>
                  <a:lnTo>
                    <a:pt x="53" y="202"/>
                  </a:lnTo>
                  <a:lnTo>
                    <a:pt x="64" y="202"/>
                  </a:lnTo>
                  <a:lnTo>
                    <a:pt x="75" y="193"/>
                  </a:lnTo>
                  <a:lnTo>
                    <a:pt x="85" y="193"/>
                  </a:lnTo>
                  <a:lnTo>
                    <a:pt x="96" y="202"/>
                  </a:lnTo>
                  <a:lnTo>
                    <a:pt x="107" y="213"/>
                  </a:lnTo>
                  <a:lnTo>
                    <a:pt x="128" y="233"/>
                  </a:lnTo>
                  <a:lnTo>
                    <a:pt x="128" y="242"/>
                  </a:lnTo>
                  <a:lnTo>
                    <a:pt x="150" y="233"/>
                  </a:lnTo>
                  <a:lnTo>
                    <a:pt x="150" y="222"/>
                  </a:lnTo>
                  <a:lnTo>
                    <a:pt x="150" y="202"/>
                  </a:lnTo>
                  <a:lnTo>
                    <a:pt x="150" y="193"/>
                  </a:lnTo>
                  <a:lnTo>
                    <a:pt x="150" y="184"/>
                  </a:lnTo>
                  <a:lnTo>
                    <a:pt x="171" y="174"/>
                  </a:lnTo>
                  <a:lnTo>
                    <a:pt x="205" y="163"/>
                  </a:lnTo>
                  <a:lnTo>
                    <a:pt x="207" y="177"/>
                  </a:lnTo>
                  <a:lnTo>
                    <a:pt x="226" y="174"/>
                  </a:lnTo>
                  <a:lnTo>
                    <a:pt x="236" y="174"/>
                  </a:lnTo>
                  <a:lnTo>
                    <a:pt x="246" y="174"/>
                  </a:lnTo>
                  <a:lnTo>
                    <a:pt x="256" y="174"/>
                  </a:lnTo>
                  <a:lnTo>
                    <a:pt x="266" y="145"/>
                  </a:lnTo>
                  <a:lnTo>
                    <a:pt x="266" y="136"/>
                  </a:lnTo>
                  <a:lnTo>
                    <a:pt x="256" y="125"/>
                  </a:lnTo>
                  <a:lnTo>
                    <a:pt x="266" y="116"/>
                  </a:lnTo>
                  <a:lnTo>
                    <a:pt x="266" y="106"/>
                  </a:lnTo>
                  <a:lnTo>
                    <a:pt x="266" y="88"/>
                  </a:lnTo>
                  <a:lnTo>
                    <a:pt x="266" y="77"/>
                  </a:lnTo>
                  <a:lnTo>
                    <a:pt x="278" y="77"/>
                  </a:lnTo>
                  <a:lnTo>
                    <a:pt x="278" y="68"/>
                  </a:lnTo>
                  <a:lnTo>
                    <a:pt x="278" y="57"/>
                  </a:lnTo>
                  <a:lnTo>
                    <a:pt x="278" y="49"/>
                  </a:lnTo>
                  <a:lnTo>
                    <a:pt x="289" y="38"/>
                  </a:lnTo>
                  <a:lnTo>
                    <a:pt x="278" y="30"/>
                  </a:lnTo>
                  <a:lnTo>
                    <a:pt x="266" y="38"/>
                  </a:lnTo>
                  <a:lnTo>
                    <a:pt x="266" y="38"/>
                  </a:lnTo>
                  <a:close/>
                </a:path>
              </a:pathLst>
            </a:custGeom>
            <a:solidFill>
              <a:schemeClr val="accent4"/>
            </a:solidFill>
            <a:ln w="3175" cmpd="sng">
              <a:solidFill>
                <a:schemeClr val="bg1">
                  <a:alpha val="9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02" name="Freeform 82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6083300" y="5281613"/>
              <a:ext cx="1603375" cy="704850"/>
            </a:xfrm>
            <a:custGeom>
              <a:avLst/>
              <a:gdLst>
                <a:gd name="T0" fmla="*/ 209 w 1215"/>
                <a:gd name="T1" fmla="*/ 46 h 578"/>
                <a:gd name="T2" fmla="*/ 262 w 1215"/>
                <a:gd name="T3" fmla="*/ 68 h 578"/>
                <a:gd name="T4" fmla="*/ 295 w 1215"/>
                <a:gd name="T5" fmla="*/ 83 h 578"/>
                <a:gd name="T6" fmla="*/ 331 w 1215"/>
                <a:gd name="T7" fmla="*/ 87 h 578"/>
                <a:gd name="T8" fmla="*/ 372 w 1215"/>
                <a:gd name="T9" fmla="*/ 87 h 578"/>
                <a:gd name="T10" fmla="*/ 430 w 1215"/>
                <a:gd name="T11" fmla="*/ 64 h 578"/>
                <a:gd name="T12" fmla="*/ 469 w 1215"/>
                <a:gd name="T13" fmla="*/ 48 h 578"/>
                <a:gd name="T14" fmla="*/ 514 w 1215"/>
                <a:gd name="T15" fmla="*/ 41 h 578"/>
                <a:gd name="T16" fmla="*/ 570 w 1215"/>
                <a:gd name="T17" fmla="*/ 23 h 578"/>
                <a:gd name="T18" fmla="*/ 608 w 1215"/>
                <a:gd name="T19" fmla="*/ 8 h 578"/>
                <a:gd name="T20" fmla="*/ 634 w 1215"/>
                <a:gd name="T21" fmla="*/ 0 h 578"/>
                <a:gd name="T22" fmla="*/ 654 w 1215"/>
                <a:gd name="T23" fmla="*/ 4 h 578"/>
                <a:gd name="T24" fmla="*/ 733 w 1215"/>
                <a:gd name="T25" fmla="*/ 3 h 578"/>
                <a:gd name="T26" fmla="*/ 740 w 1215"/>
                <a:gd name="T27" fmla="*/ 13 h 578"/>
                <a:gd name="T28" fmla="*/ 744 w 1215"/>
                <a:gd name="T29" fmla="*/ 30 h 578"/>
                <a:gd name="T30" fmla="*/ 761 w 1215"/>
                <a:gd name="T31" fmla="*/ 25 h 578"/>
                <a:gd name="T32" fmla="*/ 763 w 1215"/>
                <a:gd name="T33" fmla="*/ 40 h 578"/>
                <a:gd name="T34" fmla="*/ 792 w 1215"/>
                <a:gd name="T35" fmla="*/ 43 h 578"/>
                <a:gd name="T36" fmla="*/ 846 w 1215"/>
                <a:gd name="T37" fmla="*/ 53 h 578"/>
                <a:gd name="T38" fmla="*/ 878 w 1215"/>
                <a:gd name="T39" fmla="*/ 61 h 578"/>
                <a:gd name="T40" fmla="*/ 921 w 1215"/>
                <a:gd name="T41" fmla="*/ 63 h 578"/>
                <a:gd name="T42" fmla="*/ 972 w 1215"/>
                <a:gd name="T43" fmla="*/ 55 h 578"/>
                <a:gd name="T44" fmla="*/ 1029 w 1215"/>
                <a:gd name="T45" fmla="*/ 46 h 578"/>
                <a:gd name="T46" fmla="*/ 1056 w 1215"/>
                <a:gd name="T47" fmla="*/ 51 h 578"/>
                <a:gd name="T48" fmla="*/ 1090 w 1215"/>
                <a:gd name="T49" fmla="*/ 58 h 578"/>
                <a:gd name="T50" fmla="*/ 1146 w 1215"/>
                <a:gd name="T51" fmla="*/ 53 h 578"/>
                <a:gd name="T52" fmla="*/ 1215 w 1215"/>
                <a:gd name="T53" fmla="*/ 31 h 578"/>
                <a:gd name="T54" fmla="*/ 1215 w 1215"/>
                <a:gd name="T55" fmla="*/ 476 h 578"/>
                <a:gd name="T56" fmla="*/ 1215 w 1215"/>
                <a:gd name="T57" fmla="*/ 577 h 578"/>
                <a:gd name="T58" fmla="*/ 822 w 1215"/>
                <a:gd name="T59" fmla="*/ 577 h 578"/>
                <a:gd name="T60" fmla="*/ 175 w 1215"/>
                <a:gd name="T61" fmla="*/ 578 h 578"/>
                <a:gd name="T62" fmla="*/ 140 w 1215"/>
                <a:gd name="T63" fmla="*/ 558 h 578"/>
                <a:gd name="T64" fmla="*/ 124 w 1215"/>
                <a:gd name="T65" fmla="*/ 549 h 578"/>
                <a:gd name="T66" fmla="*/ 88 w 1215"/>
                <a:gd name="T67" fmla="*/ 542 h 578"/>
                <a:gd name="T68" fmla="*/ 71 w 1215"/>
                <a:gd name="T69" fmla="*/ 526 h 578"/>
                <a:gd name="T70" fmla="*/ 60 w 1215"/>
                <a:gd name="T71" fmla="*/ 514 h 578"/>
                <a:gd name="T72" fmla="*/ 53 w 1215"/>
                <a:gd name="T73" fmla="*/ 506 h 578"/>
                <a:gd name="T74" fmla="*/ 55 w 1215"/>
                <a:gd name="T75" fmla="*/ 493 h 578"/>
                <a:gd name="T76" fmla="*/ 61 w 1215"/>
                <a:gd name="T77" fmla="*/ 481 h 578"/>
                <a:gd name="T78" fmla="*/ 48 w 1215"/>
                <a:gd name="T79" fmla="*/ 461 h 578"/>
                <a:gd name="T80" fmla="*/ 56 w 1215"/>
                <a:gd name="T81" fmla="*/ 445 h 578"/>
                <a:gd name="T82" fmla="*/ 56 w 1215"/>
                <a:gd name="T83" fmla="*/ 425 h 578"/>
                <a:gd name="T84" fmla="*/ 46 w 1215"/>
                <a:gd name="T85" fmla="*/ 414 h 578"/>
                <a:gd name="T86" fmla="*/ 53 w 1215"/>
                <a:gd name="T87" fmla="*/ 396 h 578"/>
                <a:gd name="T88" fmla="*/ 46 w 1215"/>
                <a:gd name="T89" fmla="*/ 372 h 578"/>
                <a:gd name="T90" fmla="*/ 41 w 1215"/>
                <a:gd name="T91" fmla="*/ 354 h 578"/>
                <a:gd name="T92" fmla="*/ 30 w 1215"/>
                <a:gd name="T93" fmla="*/ 339 h 578"/>
                <a:gd name="T94" fmla="*/ 37 w 1215"/>
                <a:gd name="T95" fmla="*/ 326 h 578"/>
                <a:gd name="T96" fmla="*/ 36 w 1215"/>
                <a:gd name="T97" fmla="*/ 312 h 578"/>
                <a:gd name="T98" fmla="*/ 46 w 1215"/>
                <a:gd name="T99" fmla="*/ 290 h 578"/>
                <a:gd name="T100" fmla="*/ 46 w 1215"/>
                <a:gd name="T101" fmla="*/ 272 h 578"/>
                <a:gd name="T102" fmla="*/ 45 w 1215"/>
                <a:gd name="T103" fmla="*/ 260 h 578"/>
                <a:gd name="T104" fmla="*/ 59 w 1215"/>
                <a:gd name="T105" fmla="*/ 254 h 578"/>
                <a:gd name="T106" fmla="*/ 61 w 1215"/>
                <a:gd name="T107" fmla="*/ 242 h 578"/>
                <a:gd name="T108" fmla="*/ 66 w 1215"/>
                <a:gd name="T109" fmla="*/ 233 h 578"/>
                <a:gd name="T110" fmla="*/ 51 w 1215"/>
                <a:gd name="T111" fmla="*/ 228 h 578"/>
                <a:gd name="T112" fmla="*/ 42 w 1215"/>
                <a:gd name="T113" fmla="*/ 213 h 578"/>
                <a:gd name="T114" fmla="*/ 23 w 1215"/>
                <a:gd name="T115" fmla="*/ 214 h 578"/>
                <a:gd name="T116" fmla="*/ 5 w 1215"/>
                <a:gd name="T117" fmla="*/ 209 h 578"/>
                <a:gd name="T118" fmla="*/ 0 w 1215"/>
                <a:gd name="T119" fmla="*/ 191 h 578"/>
                <a:gd name="T120" fmla="*/ 12 w 1215"/>
                <a:gd name="T121" fmla="*/ 176 h 578"/>
                <a:gd name="T122" fmla="*/ 46 w 1215"/>
                <a:gd name="T123" fmla="*/ 168 h 578"/>
                <a:gd name="T124" fmla="*/ 42 w 1215"/>
                <a:gd name="T125" fmla="*/ 16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5" h="578">
                  <a:moveTo>
                    <a:pt x="209" y="46"/>
                  </a:moveTo>
                  <a:lnTo>
                    <a:pt x="262" y="68"/>
                  </a:lnTo>
                  <a:lnTo>
                    <a:pt x="295" y="83"/>
                  </a:lnTo>
                  <a:lnTo>
                    <a:pt x="331" y="87"/>
                  </a:lnTo>
                  <a:lnTo>
                    <a:pt x="372" y="87"/>
                  </a:lnTo>
                  <a:lnTo>
                    <a:pt x="430" y="64"/>
                  </a:lnTo>
                  <a:lnTo>
                    <a:pt x="469" y="48"/>
                  </a:lnTo>
                  <a:lnTo>
                    <a:pt x="514" y="41"/>
                  </a:lnTo>
                  <a:lnTo>
                    <a:pt x="570" y="23"/>
                  </a:lnTo>
                  <a:lnTo>
                    <a:pt x="608" y="8"/>
                  </a:lnTo>
                  <a:lnTo>
                    <a:pt x="634" y="0"/>
                  </a:lnTo>
                  <a:lnTo>
                    <a:pt x="654" y="4"/>
                  </a:lnTo>
                  <a:lnTo>
                    <a:pt x="733" y="3"/>
                  </a:lnTo>
                  <a:lnTo>
                    <a:pt x="740" y="13"/>
                  </a:lnTo>
                  <a:lnTo>
                    <a:pt x="744" y="30"/>
                  </a:lnTo>
                  <a:lnTo>
                    <a:pt x="761" y="25"/>
                  </a:lnTo>
                  <a:lnTo>
                    <a:pt x="763" y="40"/>
                  </a:lnTo>
                  <a:lnTo>
                    <a:pt x="792" y="43"/>
                  </a:lnTo>
                  <a:lnTo>
                    <a:pt x="846" y="53"/>
                  </a:lnTo>
                  <a:lnTo>
                    <a:pt x="878" y="61"/>
                  </a:lnTo>
                  <a:lnTo>
                    <a:pt x="921" y="63"/>
                  </a:lnTo>
                  <a:lnTo>
                    <a:pt x="972" y="55"/>
                  </a:lnTo>
                  <a:lnTo>
                    <a:pt x="1029" y="46"/>
                  </a:lnTo>
                  <a:lnTo>
                    <a:pt x="1056" y="51"/>
                  </a:lnTo>
                  <a:lnTo>
                    <a:pt x="1090" y="58"/>
                  </a:lnTo>
                  <a:lnTo>
                    <a:pt x="1146" y="53"/>
                  </a:lnTo>
                  <a:lnTo>
                    <a:pt x="1215" y="31"/>
                  </a:lnTo>
                  <a:lnTo>
                    <a:pt x="1215" y="476"/>
                  </a:lnTo>
                  <a:lnTo>
                    <a:pt x="1215" y="577"/>
                  </a:lnTo>
                  <a:lnTo>
                    <a:pt x="822" y="577"/>
                  </a:lnTo>
                  <a:lnTo>
                    <a:pt x="175" y="578"/>
                  </a:lnTo>
                  <a:lnTo>
                    <a:pt x="140" y="558"/>
                  </a:lnTo>
                  <a:lnTo>
                    <a:pt x="124" y="549"/>
                  </a:lnTo>
                  <a:lnTo>
                    <a:pt x="88" y="542"/>
                  </a:lnTo>
                  <a:lnTo>
                    <a:pt x="71" y="526"/>
                  </a:lnTo>
                  <a:lnTo>
                    <a:pt x="60" y="514"/>
                  </a:lnTo>
                  <a:lnTo>
                    <a:pt x="53" y="506"/>
                  </a:lnTo>
                  <a:lnTo>
                    <a:pt x="55" y="493"/>
                  </a:lnTo>
                  <a:lnTo>
                    <a:pt x="61" y="481"/>
                  </a:lnTo>
                  <a:lnTo>
                    <a:pt x="48" y="461"/>
                  </a:lnTo>
                  <a:lnTo>
                    <a:pt x="56" y="445"/>
                  </a:lnTo>
                  <a:lnTo>
                    <a:pt x="56" y="425"/>
                  </a:lnTo>
                  <a:lnTo>
                    <a:pt x="46" y="414"/>
                  </a:lnTo>
                  <a:lnTo>
                    <a:pt x="53" y="396"/>
                  </a:lnTo>
                  <a:lnTo>
                    <a:pt x="46" y="372"/>
                  </a:lnTo>
                  <a:lnTo>
                    <a:pt x="41" y="354"/>
                  </a:lnTo>
                  <a:lnTo>
                    <a:pt x="30" y="339"/>
                  </a:lnTo>
                  <a:lnTo>
                    <a:pt x="37" y="326"/>
                  </a:lnTo>
                  <a:lnTo>
                    <a:pt x="36" y="312"/>
                  </a:lnTo>
                  <a:lnTo>
                    <a:pt x="46" y="290"/>
                  </a:lnTo>
                  <a:lnTo>
                    <a:pt x="46" y="272"/>
                  </a:lnTo>
                  <a:lnTo>
                    <a:pt x="45" y="260"/>
                  </a:lnTo>
                  <a:lnTo>
                    <a:pt x="59" y="254"/>
                  </a:lnTo>
                  <a:lnTo>
                    <a:pt x="61" y="242"/>
                  </a:lnTo>
                  <a:lnTo>
                    <a:pt x="66" y="233"/>
                  </a:lnTo>
                  <a:lnTo>
                    <a:pt x="51" y="228"/>
                  </a:lnTo>
                  <a:lnTo>
                    <a:pt x="42" y="213"/>
                  </a:lnTo>
                  <a:lnTo>
                    <a:pt x="23" y="214"/>
                  </a:lnTo>
                  <a:lnTo>
                    <a:pt x="5" y="209"/>
                  </a:lnTo>
                  <a:lnTo>
                    <a:pt x="0" y="191"/>
                  </a:lnTo>
                  <a:lnTo>
                    <a:pt x="12" y="176"/>
                  </a:lnTo>
                  <a:lnTo>
                    <a:pt x="46" y="168"/>
                  </a:lnTo>
                  <a:lnTo>
                    <a:pt x="42" y="160"/>
                  </a:lnTo>
                </a:path>
              </a:pathLst>
            </a:custGeom>
            <a:solidFill>
              <a:schemeClr val="accent3"/>
            </a:solidFill>
            <a:ln w="3175" cap="rnd" cmpd="sng">
              <a:solidFill>
                <a:schemeClr val="bg1">
                  <a:alpha val="9000"/>
                </a:schemeClr>
              </a:solidFill>
              <a:prstDash val="sysDot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dirty="0"/>
            </a:p>
          </p:txBody>
        </p:sp>
        <p:sp>
          <p:nvSpPr>
            <p:cNvPr id="303" name="Freeform 83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4575175" y="4721226"/>
              <a:ext cx="661988" cy="476250"/>
            </a:xfrm>
            <a:custGeom>
              <a:avLst/>
              <a:gdLst>
                <a:gd name="T0" fmla="*/ 0 w 501"/>
                <a:gd name="T1" fmla="*/ 117 h 390"/>
                <a:gd name="T2" fmla="*/ 24 w 501"/>
                <a:gd name="T3" fmla="*/ 171 h 390"/>
                <a:gd name="T4" fmla="*/ 53 w 501"/>
                <a:gd name="T5" fmla="*/ 178 h 390"/>
                <a:gd name="T6" fmla="*/ 56 w 501"/>
                <a:gd name="T7" fmla="*/ 142 h 390"/>
                <a:gd name="T8" fmla="*/ 86 w 501"/>
                <a:gd name="T9" fmla="*/ 139 h 390"/>
                <a:gd name="T10" fmla="*/ 110 w 501"/>
                <a:gd name="T11" fmla="*/ 175 h 390"/>
                <a:gd name="T12" fmla="*/ 153 w 501"/>
                <a:gd name="T13" fmla="*/ 240 h 390"/>
                <a:gd name="T14" fmla="*/ 132 w 501"/>
                <a:gd name="T15" fmla="*/ 252 h 390"/>
                <a:gd name="T16" fmla="*/ 168 w 501"/>
                <a:gd name="T17" fmla="*/ 286 h 390"/>
                <a:gd name="T18" fmla="*/ 192 w 501"/>
                <a:gd name="T19" fmla="*/ 306 h 390"/>
                <a:gd name="T20" fmla="*/ 218 w 501"/>
                <a:gd name="T21" fmla="*/ 328 h 390"/>
                <a:gd name="T22" fmla="*/ 285 w 501"/>
                <a:gd name="T23" fmla="*/ 343 h 390"/>
                <a:gd name="T24" fmla="*/ 329 w 501"/>
                <a:gd name="T25" fmla="*/ 384 h 390"/>
                <a:gd name="T26" fmla="*/ 356 w 501"/>
                <a:gd name="T27" fmla="*/ 375 h 390"/>
                <a:gd name="T28" fmla="*/ 329 w 501"/>
                <a:gd name="T29" fmla="*/ 354 h 390"/>
                <a:gd name="T30" fmla="*/ 314 w 501"/>
                <a:gd name="T31" fmla="*/ 327 h 390"/>
                <a:gd name="T32" fmla="*/ 290 w 501"/>
                <a:gd name="T33" fmla="*/ 322 h 390"/>
                <a:gd name="T34" fmla="*/ 264 w 501"/>
                <a:gd name="T35" fmla="*/ 283 h 390"/>
                <a:gd name="T36" fmla="*/ 228 w 501"/>
                <a:gd name="T37" fmla="*/ 256 h 390"/>
                <a:gd name="T38" fmla="*/ 198 w 501"/>
                <a:gd name="T39" fmla="*/ 198 h 390"/>
                <a:gd name="T40" fmla="*/ 188 w 501"/>
                <a:gd name="T41" fmla="*/ 148 h 390"/>
                <a:gd name="T42" fmla="*/ 222 w 501"/>
                <a:gd name="T43" fmla="*/ 157 h 390"/>
                <a:gd name="T44" fmla="*/ 251 w 501"/>
                <a:gd name="T45" fmla="*/ 154 h 390"/>
                <a:gd name="T46" fmla="*/ 281 w 501"/>
                <a:gd name="T47" fmla="*/ 144 h 390"/>
                <a:gd name="T48" fmla="*/ 315 w 501"/>
                <a:gd name="T49" fmla="*/ 156 h 390"/>
                <a:gd name="T50" fmla="*/ 353 w 501"/>
                <a:gd name="T51" fmla="*/ 163 h 390"/>
                <a:gd name="T52" fmla="*/ 396 w 501"/>
                <a:gd name="T53" fmla="*/ 157 h 390"/>
                <a:gd name="T54" fmla="*/ 434 w 501"/>
                <a:gd name="T55" fmla="*/ 162 h 390"/>
                <a:gd name="T56" fmla="*/ 458 w 501"/>
                <a:gd name="T57" fmla="*/ 186 h 390"/>
                <a:gd name="T58" fmla="*/ 470 w 501"/>
                <a:gd name="T59" fmla="*/ 168 h 390"/>
                <a:gd name="T60" fmla="*/ 501 w 501"/>
                <a:gd name="T61" fmla="*/ 145 h 390"/>
                <a:gd name="T62" fmla="*/ 464 w 501"/>
                <a:gd name="T63" fmla="*/ 132 h 390"/>
                <a:gd name="T64" fmla="*/ 452 w 501"/>
                <a:gd name="T65" fmla="*/ 96 h 390"/>
                <a:gd name="T66" fmla="*/ 435 w 501"/>
                <a:gd name="T67" fmla="*/ 70 h 390"/>
                <a:gd name="T68" fmla="*/ 402 w 501"/>
                <a:gd name="T69" fmla="*/ 90 h 390"/>
                <a:gd name="T70" fmla="*/ 372 w 501"/>
                <a:gd name="T71" fmla="*/ 81 h 390"/>
                <a:gd name="T72" fmla="*/ 341 w 501"/>
                <a:gd name="T73" fmla="*/ 73 h 390"/>
                <a:gd name="T74" fmla="*/ 315 w 501"/>
                <a:gd name="T75" fmla="*/ 54 h 390"/>
                <a:gd name="T76" fmla="*/ 284 w 501"/>
                <a:gd name="T77" fmla="*/ 30 h 390"/>
                <a:gd name="T78" fmla="*/ 279 w 501"/>
                <a:gd name="T79" fmla="*/ 0 h 390"/>
                <a:gd name="T80" fmla="*/ 227 w 501"/>
                <a:gd name="T81" fmla="*/ 25 h 390"/>
                <a:gd name="T82" fmla="*/ 197 w 501"/>
                <a:gd name="T83" fmla="*/ 33 h 390"/>
                <a:gd name="T84" fmla="*/ 182 w 501"/>
                <a:gd name="T85" fmla="*/ 48 h 390"/>
                <a:gd name="T86" fmla="*/ 177 w 501"/>
                <a:gd name="T87" fmla="*/ 78 h 390"/>
                <a:gd name="T88" fmla="*/ 156 w 501"/>
                <a:gd name="T89" fmla="*/ 79 h 390"/>
                <a:gd name="T90" fmla="*/ 147 w 501"/>
                <a:gd name="T91" fmla="*/ 120 h 390"/>
                <a:gd name="T92" fmla="*/ 117 w 501"/>
                <a:gd name="T93" fmla="*/ 103 h 390"/>
                <a:gd name="T94" fmla="*/ 72 w 501"/>
                <a:gd name="T95" fmla="*/ 102 h 390"/>
                <a:gd name="T96" fmla="*/ 27 w 501"/>
                <a:gd name="T97" fmla="*/ 97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01" h="390">
                  <a:moveTo>
                    <a:pt x="6" y="91"/>
                  </a:moveTo>
                  <a:lnTo>
                    <a:pt x="0" y="117"/>
                  </a:lnTo>
                  <a:lnTo>
                    <a:pt x="2" y="133"/>
                  </a:lnTo>
                  <a:lnTo>
                    <a:pt x="24" y="171"/>
                  </a:lnTo>
                  <a:lnTo>
                    <a:pt x="44" y="196"/>
                  </a:lnTo>
                  <a:lnTo>
                    <a:pt x="53" y="178"/>
                  </a:lnTo>
                  <a:lnTo>
                    <a:pt x="53" y="156"/>
                  </a:lnTo>
                  <a:lnTo>
                    <a:pt x="56" y="142"/>
                  </a:lnTo>
                  <a:lnTo>
                    <a:pt x="68" y="124"/>
                  </a:lnTo>
                  <a:lnTo>
                    <a:pt x="86" y="139"/>
                  </a:lnTo>
                  <a:lnTo>
                    <a:pt x="102" y="150"/>
                  </a:lnTo>
                  <a:lnTo>
                    <a:pt x="110" y="175"/>
                  </a:lnTo>
                  <a:lnTo>
                    <a:pt x="113" y="201"/>
                  </a:lnTo>
                  <a:lnTo>
                    <a:pt x="153" y="240"/>
                  </a:lnTo>
                  <a:lnTo>
                    <a:pt x="143" y="244"/>
                  </a:lnTo>
                  <a:lnTo>
                    <a:pt x="132" y="252"/>
                  </a:lnTo>
                  <a:lnTo>
                    <a:pt x="152" y="273"/>
                  </a:lnTo>
                  <a:lnTo>
                    <a:pt x="168" y="286"/>
                  </a:lnTo>
                  <a:lnTo>
                    <a:pt x="176" y="297"/>
                  </a:lnTo>
                  <a:lnTo>
                    <a:pt x="192" y="306"/>
                  </a:lnTo>
                  <a:lnTo>
                    <a:pt x="201" y="325"/>
                  </a:lnTo>
                  <a:lnTo>
                    <a:pt x="218" y="328"/>
                  </a:lnTo>
                  <a:lnTo>
                    <a:pt x="239" y="327"/>
                  </a:lnTo>
                  <a:lnTo>
                    <a:pt x="285" y="343"/>
                  </a:lnTo>
                  <a:lnTo>
                    <a:pt x="306" y="361"/>
                  </a:lnTo>
                  <a:lnTo>
                    <a:pt x="329" y="384"/>
                  </a:lnTo>
                  <a:lnTo>
                    <a:pt x="347" y="390"/>
                  </a:lnTo>
                  <a:lnTo>
                    <a:pt x="356" y="375"/>
                  </a:lnTo>
                  <a:lnTo>
                    <a:pt x="341" y="366"/>
                  </a:lnTo>
                  <a:lnTo>
                    <a:pt x="329" y="354"/>
                  </a:lnTo>
                  <a:lnTo>
                    <a:pt x="318" y="339"/>
                  </a:lnTo>
                  <a:lnTo>
                    <a:pt x="314" y="327"/>
                  </a:lnTo>
                  <a:lnTo>
                    <a:pt x="300" y="327"/>
                  </a:lnTo>
                  <a:lnTo>
                    <a:pt x="290" y="322"/>
                  </a:lnTo>
                  <a:lnTo>
                    <a:pt x="276" y="304"/>
                  </a:lnTo>
                  <a:lnTo>
                    <a:pt x="264" y="283"/>
                  </a:lnTo>
                  <a:lnTo>
                    <a:pt x="251" y="271"/>
                  </a:lnTo>
                  <a:lnTo>
                    <a:pt x="228" y="256"/>
                  </a:lnTo>
                  <a:lnTo>
                    <a:pt x="212" y="223"/>
                  </a:lnTo>
                  <a:lnTo>
                    <a:pt x="198" y="198"/>
                  </a:lnTo>
                  <a:lnTo>
                    <a:pt x="188" y="172"/>
                  </a:lnTo>
                  <a:lnTo>
                    <a:pt x="188" y="148"/>
                  </a:lnTo>
                  <a:lnTo>
                    <a:pt x="201" y="150"/>
                  </a:lnTo>
                  <a:lnTo>
                    <a:pt x="222" y="157"/>
                  </a:lnTo>
                  <a:lnTo>
                    <a:pt x="231" y="172"/>
                  </a:lnTo>
                  <a:lnTo>
                    <a:pt x="251" y="154"/>
                  </a:lnTo>
                  <a:lnTo>
                    <a:pt x="269" y="150"/>
                  </a:lnTo>
                  <a:lnTo>
                    <a:pt x="281" y="144"/>
                  </a:lnTo>
                  <a:lnTo>
                    <a:pt x="302" y="148"/>
                  </a:lnTo>
                  <a:lnTo>
                    <a:pt x="315" y="156"/>
                  </a:lnTo>
                  <a:lnTo>
                    <a:pt x="335" y="156"/>
                  </a:lnTo>
                  <a:lnTo>
                    <a:pt x="353" y="163"/>
                  </a:lnTo>
                  <a:lnTo>
                    <a:pt x="372" y="159"/>
                  </a:lnTo>
                  <a:lnTo>
                    <a:pt x="396" y="157"/>
                  </a:lnTo>
                  <a:lnTo>
                    <a:pt x="414" y="163"/>
                  </a:lnTo>
                  <a:lnTo>
                    <a:pt x="434" y="162"/>
                  </a:lnTo>
                  <a:lnTo>
                    <a:pt x="443" y="178"/>
                  </a:lnTo>
                  <a:lnTo>
                    <a:pt x="458" y="186"/>
                  </a:lnTo>
                  <a:lnTo>
                    <a:pt x="470" y="184"/>
                  </a:lnTo>
                  <a:lnTo>
                    <a:pt x="470" y="168"/>
                  </a:lnTo>
                  <a:lnTo>
                    <a:pt x="489" y="153"/>
                  </a:lnTo>
                  <a:lnTo>
                    <a:pt x="501" y="145"/>
                  </a:lnTo>
                  <a:lnTo>
                    <a:pt x="482" y="138"/>
                  </a:lnTo>
                  <a:lnTo>
                    <a:pt x="464" y="132"/>
                  </a:lnTo>
                  <a:lnTo>
                    <a:pt x="458" y="120"/>
                  </a:lnTo>
                  <a:lnTo>
                    <a:pt x="452" y="96"/>
                  </a:lnTo>
                  <a:lnTo>
                    <a:pt x="444" y="81"/>
                  </a:lnTo>
                  <a:lnTo>
                    <a:pt x="435" y="70"/>
                  </a:lnTo>
                  <a:lnTo>
                    <a:pt x="416" y="88"/>
                  </a:lnTo>
                  <a:lnTo>
                    <a:pt x="402" y="90"/>
                  </a:lnTo>
                  <a:lnTo>
                    <a:pt x="387" y="82"/>
                  </a:lnTo>
                  <a:lnTo>
                    <a:pt x="372" y="81"/>
                  </a:lnTo>
                  <a:lnTo>
                    <a:pt x="354" y="81"/>
                  </a:lnTo>
                  <a:lnTo>
                    <a:pt x="341" y="73"/>
                  </a:lnTo>
                  <a:lnTo>
                    <a:pt x="327" y="57"/>
                  </a:lnTo>
                  <a:lnTo>
                    <a:pt x="315" y="54"/>
                  </a:lnTo>
                  <a:lnTo>
                    <a:pt x="300" y="46"/>
                  </a:lnTo>
                  <a:lnTo>
                    <a:pt x="284" y="30"/>
                  </a:lnTo>
                  <a:lnTo>
                    <a:pt x="279" y="18"/>
                  </a:lnTo>
                  <a:lnTo>
                    <a:pt x="279" y="0"/>
                  </a:lnTo>
                  <a:lnTo>
                    <a:pt x="254" y="7"/>
                  </a:lnTo>
                  <a:lnTo>
                    <a:pt x="227" y="25"/>
                  </a:lnTo>
                  <a:lnTo>
                    <a:pt x="216" y="30"/>
                  </a:lnTo>
                  <a:lnTo>
                    <a:pt x="197" y="33"/>
                  </a:lnTo>
                  <a:lnTo>
                    <a:pt x="195" y="45"/>
                  </a:lnTo>
                  <a:lnTo>
                    <a:pt x="182" y="48"/>
                  </a:lnTo>
                  <a:lnTo>
                    <a:pt x="182" y="69"/>
                  </a:lnTo>
                  <a:lnTo>
                    <a:pt x="177" y="78"/>
                  </a:lnTo>
                  <a:lnTo>
                    <a:pt x="167" y="82"/>
                  </a:lnTo>
                  <a:lnTo>
                    <a:pt x="156" y="79"/>
                  </a:lnTo>
                  <a:lnTo>
                    <a:pt x="155" y="111"/>
                  </a:lnTo>
                  <a:lnTo>
                    <a:pt x="147" y="120"/>
                  </a:lnTo>
                  <a:lnTo>
                    <a:pt x="131" y="117"/>
                  </a:lnTo>
                  <a:lnTo>
                    <a:pt x="117" y="103"/>
                  </a:lnTo>
                  <a:lnTo>
                    <a:pt x="104" y="100"/>
                  </a:lnTo>
                  <a:lnTo>
                    <a:pt x="72" y="102"/>
                  </a:lnTo>
                  <a:lnTo>
                    <a:pt x="54" y="111"/>
                  </a:lnTo>
                  <a:lnTo>
                    <a:pt x="27" y="97"/>
                  </a:lnTo>
                  <a:lnTo>
                    <a:pt x="6" y="91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 wrap="none" lIns="90000" tIns="46800" rIns="90000" bIns="46800" anchor="ctr"/>
            <a:lstStyle/>
            <a:p>
              <a:endParaRPr lang="de-DE" dirty="0"/>
            </a:p>
          </p:txBody>
        </p:sp>
        <p:sp>
          <p:nvSpPr>
            <p:cNvPr id="304" name="Freeform 84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819650" y="4892676"/>
              <a:ext cx="431800" cy="350838"/>
            </a:xfrm>
            <a:custGeom>
              <a:avLst/>
              <a:gdLst>
                <a:gd name="T0" fmla="*/ 216 w 327"/>
                <a:gd name="T1" fmla="*/ 285 h 288"/>
                <a:gd name="T2" fmla="*/ 249 w 327"/>
                <a:gd name="T3" fmla="*/ 276 h 288"/>
                <a:gd name="T4" fmla="*/ 231 w 327"/>
                <a:gd name="T5" fmla="*/ 259 h 288"/>
                <a:gd name="T6" fmla="*/ 232 w 327"/>
                <a:gd name="T7" fmla="*/ 241 h 288"/>
                <a:gd name="T8" fmla="*/ 247 w 327"/>
                <a:gd name="T9" fmla="*/ 238 h 288"/>
                <a:gd name="T10" fmla="*/ 258 w 327"/>
                <a:gd name="T11" fmla="*/ 213 h 288"/>
                <a:gd name="T12" fmla="*/ 267 w 327"/>
                <a:gd name="T13" fmla="*/ 205 h 288"/>
                <a:gd name="T14" fmla="*/ 280 w 327"/>
                <a:gd name="T15" fmla="*/ 213 h 288"/>
                <a:gd name="T16" fmla="*/ 280 w 327"/>
                <a:gd name="T17" fmla="*/ 195 h 288"/>
                <a:gd name="T18" fmla="*/ 274 w 327"/>
                <a:gd name="T19" fmla="*/ 181 h 288"/>
                <a:gd name="T20" fmla="*/ 291 w 327"/>
                <a:gd name="T21" fmla="*/ 189 h 288"/>
                <a:gd name="T22" fmla="*/ 316 w 327"/>
                <a:gd name="T23" fmla="*/ 177 h 288"/>
                <a:gd name="T24" fmla="*/ 327 w 327"/>
                <a:gd name="T25" fmla="*/ 166 h 288"/>
                <a:gd name="T26" fmla="*/ 309 w 327"/>
                <a:gd name="T27" fmla="*/ 153 h 288"/>
                <a:gd name="T28" fmla="*/ 300 w 327"/>
                <a:gd name="T29" fmla="*/ 133 h 288"/>
                <a:gd name="T30" fmla="*/ 294 w 327"/>
                <a:gd name="T31" fmla="*/ 115 h 288"/>
                <a:gd name="T32" fmla="*/ 312 w 327"/>
                <a:gd name="T33" fmla="*/ 112 h 288"/>
                <a:gd name="T34" fmla="*/ 304 w 327"/>
                <a:gd name="T35" fmla="*/ 93 h 288"/>
                <a:gd name="T36" fmla="*/ 291 w 327"/>
                <a:gd name="T37" fmla="*/ 81 h 288"/>
                <a:gd name="T38" fmla="*/ 279 w 327"/>
                <a:gd name="T39" fmla="*/ 78 h 288"/>
                <a:gd name="T40" fmla="*/ 277 w 327"/>
                <a:gd name="T41" fmla="*/ 64 h 288"/>
                <a:gd name="T42" fmla="*/ 279 w 327"/>
                <a:gd name="T43" fmla="*/ 45 h 288"/>
                <a:gd name="T44" fmla="*/ 262 w 327"/>
                <a:gd name="T45" fmla="*/ 31 h 288"/>
                <a:gd name="T46" fmla="*/ 250 w 327"/>
                <a:gd name="T47" fmla="*/ 16 h 288"/>
                <a:gd name="T48" fmla="*/ 223 w 327"/>
                <a:gd name="T49" fmla="*/ 16 h 288"/>
                <a:gd name="T50" fmla="*/ 196 w 327"/>
                <a:gd name="T51" fmla="*/ 12 h 288"/>
                <a:gd name="T52" fmla="*/ 159 w 327"/>
                <a:gd name="T53" fmla="*/ 15 h 288"/>
                <a:gd name="T54" fmla="*/ 132 w 327"/>
                <a:gd name="T55" fmla="*/ 7 h 288"/>
                <a:gd name="T56" fmla="*/ 109 w 327"/>
                <a:gd name="T57" fmla="*/ 0 h 288"/>
                <a:gd name="T58" fmla="*/ 79 w 327"/>
                <a:gd name="T59" fmla="*/ 1 h 288"/>
                <a:gd name="T60" fmla="*/ 48 w 327"/>
                <a:gd name="T61" fmla="*/ 21 h 288"/>
                <a:gd name="T62" fmla="*/ 39 w 327"/>
                <a:gd name="T63" fmla="*/ 13 h 288"/>
                <a:gd name="T64" fmla="*/ 22 w 327"/>
                <a:gd name="T65" fmla="*/ 6 h 288"/>
                <a:gd name="T66" fmla="*/ 6 w 327"/>
                <a:gd name="T67" fmla="*/ 4 h 288"/>
                <a:gd name="T68" fmla="*/ 0 w 327"/>
                <a:gd name="T69" fmla="*/ 22 h 288"/>
                <a:gd name="T70" fmla="*/ 3 w 327"/>
                <a:gd name="T71" fmla="*/ 45 h 288"/>
                <a:gd name="T72" fmla="*/ 19 w 327"/>
                <a:gd name="T73" fmla="*/ 78 h 288"/>
                <a:gd name="T74" fmla="*/ 37 w 327"/>
                <a:gd name="T75" fmla="*/ 115 h 288"/>
                <a:gd name="T76" fmla="*/ 70 w 327"/>
                <a:gd name="T77" fmla="*/ 136 h 288"/>
                <a:gd name="T78" fmla="*/ 91 w 327"/>
                <a:gd name="T79" fmla="*/ 166 h 288"/>
                <a:gd name="T80" fmla="*/ 106 w 327"/>
                <a:gd name="T81" fmla="*/ 186 h 288"/>
                <a:gd name="T82" fmla="*/ 126 w 327"/>
                <a:gd name="T83" fmla="*/ 189 h 288"/>
                <a:gd name="T84" fmla="*/ 148 w 327"/>
                <a:gd name="T85" fmla="*/ 225 h 288"/>
                <a:gd name="T86" fmla="*/ 171 w 327"/>
                <a:gd name="T87" fmla="*/ 232 h 288"/>
                <a:gd name="T88" fmla="*/ 160 w 327"/>
                <a:gd name="T89" fmla="*/ 247 h 288"/>
                <a:gd name="T90" fmla="*/ 142 w 327"/>
                <a:gd name="T91" fmla="*/ 240 h 288"/>
                <a:gd name="T92" fmla="*/ 172 w 327"/>
                <a:gd name="T93" fmla="*/ 264 h 288"/>
                <a:gd name="T94" fmla="*/ 187 w 327"/>
                <a:gd name="T95" fmla="*/ 277 h 288"/>
                <a:gd name="T96" fmla="*/ 205 w 327"/>
                <a:gd name="T97" fmla="*/ 288 h 288"/>
                <a:gd name="T98" fmla="*/ 216 w 327"/>
                <a:gd name="T99" fmla="*/ 28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7" h="288">
                  <a:moveTo>
                    <a:pt x="216" y="285"/>
                  </a:moveTo>
                  <a:lnTo>
                    <a:pt x="249" y="276"/>
                  </a:lnTo>
                  <a:lnTo>
                    <a:pt x="231" y="259"/>
                  </a:lnTo>
                  <a:lnTo>
                    <a:pt x="232" y="241"/>
                  </a:lnTo>
                  <a:lnTo>
                    <a:pt x="247" y="238"/>
                  </a:lnTo>
                  <a:lnTo>
                    <a:pt x="258" y="213"/>
                  </a:lnTo>
                  <a:lnTo>
                    <a:pt x="267" y="205"/>
                  </a:lnTo>
                  <a:lnTo>
                    <a:pt x="280" y="213"/>
                  </a:lnTo>
                  <a:lnTo>
                    <a:pt x="280" y="195"/>
                  </a:lnTo>
                  <a:lnTo>
                    <a:pt x="274" y="181"/>
                  </a:lnTo>
                  <a:lnTo>
                    <a:pt x="291" y="189"/>
                  </a:lnTo>
                  <a:lnTo>
                    <a:pt x="316" y="177"/>
                  </a:lnTo>
                  <a:lnTo>
                    <a:pt x="327" y="166"/>
                  </a:lnTo>
                  <a:lnTo>
                    <a:pt x="309" y="153"/>
                  </a:lnTo>
                  <a:lnTo>
                    <a:pt x="300" y="133"/>
                  </a:lnTo>
                  <a:lnTo>
                    <a:pt x="294" y="115"/>
                  </a:lnTo>
                  <a:lnTo>
                    <a:pt x="312" y="112"/>
                  </a:lnTo>
                  <a:lnTo>
                    <a:pt x="304" y="93"/>
                  </a:lnTo>
                  <a:lnTo>
                    <a:pt x="291" y="81"/>
                  </a:lnTo>
                  <a:lnTo>
                    <a:pt x="279" y="78"/>
                  </a:lnTo>
                  <a:lnTo>
                    <a:pt x="277" y="64"/>
                  </a:lnTo>
                  <a:lnTo>
                    <a:pt x="279" y="45"/>
                  </a:lnTo>
                  <a:lnTo>
                    <a:pt x="262" y="31"/>
                  </a:lnTo>
                  <a:lnTo>
                    <a:pt x="250" y="16"/>
                  </a:lnTo>
                  <a:lnTo>
                    <a:pt x="223" y="16"/>
                  </a:lnTo>
                  <a:lnTo>
                    <a:pt x="196" y="12"/>
                  </a:lnTo>
                  <a:lnTo>
                    <a:pt x="159" y="15"/>
                  </a:lnTo>
                  <a:lnTo>
                    <a:pt x="132" y="7"/>
                  </a:lnTo>
                  <a:lnTo>
                    <a:pt x="109" y="0"/>
                  </a:lnTo>
                  <a:lnTo>
                    <a:pt x="79" y="1"/>
                  </a:lnTo>
                  <a:lnTo>
                    <a:pt x="48" y="21"/>
                  </a:lnTo>
                  <a:lnTo>
                    <a:pt x="39" y="13"/>
                  </a:lnTo>
                  <a:lnTo>
                    <a:pt x="22" y="6"/>
                  </a:lnTo>
                  <a:lnTo>
                    <a:pt x="6" y="4"/>
                  </a:lnTo>
                  <a:lnTo>
                    <a:pt x="0" y="22"/>
                  </a:lnTo>
                  <a:lnTo>
                    <a:pt x="3" y="45"/>
                  </a:lnTo>
                  <a:lnTo>
                    <a:pt x="19" y="78"/>
                  </a:lnTo>
                  <a:lnTo>
                    <a:pt x="37" y="115"/>
                  </a:lnTo>
                  <a:lnTo>
                    <a:pt x="70" y="136"/>
                  </a:lnTo>
                  <a:lnTo>
                    <a:pt x="91" y="166"/>
                  </a:lnTo>
                  <a:lnTo>
                    <a:pt x="106" y="186"/>
                  </a:lnTo>
                  <a:lnTo>
                    <a:pt x="126" y="189"/>
                  </a:lnTo>
                  <a:lnTo>
                    <a:pt x="148" y="225"/>
                  </a:lnTo>
                  <a:lnTo>
                    <a:pt x="171" y="232"/>
                  </a:lnTo>
                  <a:lnTo>
                    <a:pt x="160" y="247"/>
                  </a:lnTo>
                  <a:lnTo>
                    <a:pt x="142" y="240"/>
                  </a:lnTo>
                  <a:lnTo>
                    <a:pt x="172" y="264"/>
                  </a:lnTo>
                  <a:lnTo>
                    <a:pt x="187" y="277"/>
                  </a:lnTo>
                  <a:lnTo>
                    <a:pt x="205" y="288"/>
                  </a:lnTo>
                  <a:lnTo>
                    <a:pt x="216" y="285"/>
                  </a:lnTo>
                  <a:close/>
                </a:path>
              </a:pathLst>
            </a:custGeom>
            <a:solidFill>
              <a:schemeClr val="accent4"/>
            </a:solidFill>
            <a:ln w="3175" cap="flat" cmpd="sng">
              <a:solidFill>
                <a:schemeClr val="bg1">
                  <a:alpha val="9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 wrap="none" lIns="90000" tIns="46800" rIns="90000" bIns="46800" anchor="ctr"/>
            <a:lstStyle/>
            <a:p>
              <a:endParaRPr lang="de-DE" dirty="0"/>
            </a:p>
          </p:txBody>
        </p:sp>
      </p:grpSp>
      <p:sp>
        <p:nvSpPr>
          <p:cNvPr id="89" name="Titel 1">
            <a:extLst>
              <a:ext uri="{FF2B5EF4-FFF2-40B4-BE49-F238E27FC236}">
                <a16:creationId xmlns:a16="http://schemas.microsoft.com/office/drawing/2014/main" id="{F4EC0199-01F7-4B10-A09B-95D0E1B82994}"/>
              </a:ext>
            </a:extLst>
          </p:cNvPr>
          <p:cNvSpPr txBox="1">
            <a:spLocks/>
          </p:cNvSpPr>
          <p:nvPr/>
        </p:nvSpPr>
        <p:spPr bwMode="auto">
          <a:xfrm>
            <a:off x="198000" y="403200"/>
            <a:ext cx="9504000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223200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0">
                <a:solidFill>
                  <a:schemeClr val="tx2"/>
                </a:solidFill>
                <a:latin typeface="DB Office" panose="020B060402020202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9pPr>
          </a:lstStyle>
          <a:p>
            <a:r>
              <a:rPr lang="cs-CZ" b="1" kern="0"/>
              <a:t>Nový úsek tratě Drážďany – Praha</a:t>
            </a:r>
            <a:br>
              <a:rPr lang="cs-CZ" kern="0"/>
            </a:br>
            <a:r>
              <a:rPr lang="cs-CZ" kern="0"/>
              <a:t>Transevropská dopravní síť</a:t>
            </a:r>
            <a:endParaRPr lang="de-DE" kern="0" dirty="0"/>
          </a:p>
        </p:txBody>
      </p:sp>
      <p:sp>
        <p:nvSpPr>
          <p:cNvPr id="91" name="Foliennummernplatzhalter 4">
            <a:extLst>
              <a:ext uri="{FF2B5EF4-FFF2-40B4-BE49-F238E27FC236}">
                <a16:creationId xmlns:a16="http://schemas.microsoft.com/office/drawing/2014/main" id="{B02446CE-1DE0-4BBF-89D7-E476E1AA0F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798A07C7-D735-4B2E-ADA5-AE35FF5852AD}" type="slidenum">
              <a:rPr lang="de-DE" altLang="de-DE" smtClean="0"/>
              <a:pPr>
                <a:defRPr/>
              </a:pPr>
              <a:t>4</a:t>
            </a:fld>
            <a:endParaRPr lang="de-DE" altLang="de-DE" sz="900" dirty="0"/>
          </a:p>
        </p:txBody>
      </p:sp>
      <p:sp>
        <p:nvSpPr>
          <p:cNvPr id="92" name="ElementText1">
            <a:extLst>
              <a:ext uri="{FF2B5EF4-FFF2-40B4-BE49-F238E27FC236}">
                <a16:creationId xmlns:a16="http://schemas.microsoft.com/office/drawing/2014/main" id="{8E3E4BE1-F2AB-4BB2-B8B9-AA745444DCB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845778" y="6499164"/>
            <a:ext cx="2265475" cy="936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cs-CZ" sz="900"/>
              <a:t>Zdroj: DB A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23784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/>
              <a:t>Nový úsek tratě Drážďany – Praha </a:t>
            </a:r>
            <a:br>
              <a:rPr lang="cs-CZ"/>
            </a:br>
            <a:r>
              <a:rPr lang="cs-CZ"/>
              <a:t>Charakteristika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9E1FC78-F070-4EC4-A2BC-9F7CDC68095E}"/>
              </a:ext>
            </a:extLst>
          </p:cNvPr>
          <p:cNvSpPr txBox="1"/>
          <p:nvPr/>
        </p:nvSpPr>
        <p:spPr>
          <a:xfrm>
            <a:off x="5024431" y="1450596"/>
            <a:ext cx="4678716" cy="2412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íle projektu podle BVWP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 pitchFamily="34" charset="0"/>
              <a:ea typeface="+mn-ea"/>
              <a:cs typeface="+mn-cs"/>
              <a:sym typeface="Wingdings" panose="05000000000000000000" pitchFamily="2" charset="2"/>
            </a:endParaRPr>
          </a:p>
          <a:p>
            <a:pPr marL="177800" marR="0" lvl="1" indent="-176213" algn="l" defTabSz="914400" latinLnBrk="0">
              <a:lnSpc>
                <a:spcPct val="100000"/>
              </a:lnSpc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lang="cs-CZ">
                <a:solidFill>
                  <a:srgbClr val="000000"/>
                </a:solidFill>
                <a:latin typeface="+mj-lt"/>
                <a:sym typeface="Wingdings"/>
              </a:rPr>
              <a:t>Zrychlení dálkové dopravy (Berlín-) Drážďany – Praha</a:t>
            </a:r>
          </a:p>
          <a:p>
            <a:pPr marL="177800" marR="0" lvl="1" indent="-176213" algn="l" defTabSz="914400" latinLnBrk="0">
              <a:lnSpc>
                <a:spcPct val="100000"/>
              </a:lnSpc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lang="cs-CZ">
                <a:solidFill>
                  <a:srgbClr val="000000"/>
                </a:solidFill>
                <a:latin typeface="+mj-lt"/>
                <a:sym typeface="Wingdings"/>
              </a:rPr>
              <a:t>Zvýšení rychlosti ze 120 km/h v údolí Labe na 200 km/h</a:t>
            </a:r>
          </a:p>
          <a:p>
            <a:pPr marL="177800" marR="0" lvl="1" indent="-176213" algn="l" defTabSz="914400" latinLnBrk="0">
              <a:lnSpc>
                <a:spcPct val="100000"/>
              </a:lnSpc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lang="cs-CZ">
                <a:solidFill>
                  <a:srgbClr val="000000"/>
                </a:solidFill>
                <a:latin typeface="+mj-lt"/>
                <a:sym typeface="Wingdings"/>
              </a:rPr>
              <a:t>Zkrácení cestovní i přepravní doby</a:t>
            </a:r>
          </a:p>
          <a:p>
            <a:pPr marL="177800" marR="0" lvl="1" indent="-176213" algn="l" defTabSz="914400" latinLnBrk="0">
              <a:lnSpc>
                <a:spcPct val="100000"/>
              </a:lnSpc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lang="cs-CZ">
                <a:solidFill>
                  <a:srgbClr val="000000"/>
                </a:solidFill>
                <a:latin typeface="+mj-lt"/>
                <a:sym typeface="Wingdings"/>
              </a:rPr>
              <a:t>Rozšíření kapacity v nákladní dopravě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B Office" pitchFamily="34" charset="0"/>
              <a:ea typeface="+mn-ea"/>
              <a:cs typeface="+mn-cs"/>
            </a:endParaRP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62A8127C-F2E6-4AC6-AB41-5A1AFB8FF3D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22602" y="4797152"/>
          <a:ext cx="9504000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19399">
                  <a:extLst>
                    <a:ext uri="{9D8B030D-6E8A-4147-A177-3AD203B41FA5}">
                      <a16:colId xmlns:a16="http://schemas.microsoft.com/office/drawing/2014/main" val="1135012581"/>
                    </a:ext>
                  </a:extLst>
                </a:gridCol>
                <a:gridCol w="2616601">
                  <a:extLst>
                    <a:ext uri="{9D8B030D-6E8A-4147-A177-3AD203B41FA5}">
                      <a16:colId xmlns:a16="http://schemas.microsoft.com/office/drawing/2014/main" val="877145870"/>
                    </a:ext>
                  </a:extLst>
                </a:gridCol>
                <a:gridCol w="3168000">
                  <a:extLst>
                    <a:ext uri="{9D8B030D-6E8A-4147-A177-3AD203B41FA5}">
                      <a16:colId xmlns:a16="http://schemas.microsoft.com/office/drawing/2014/main" val="902275199"/>
                    </a:ext>
                  </a:extLst>
                </a:gridCol>
              </a:tblGrid>
              <a:tr h="26745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/>
                        <a:t>St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/>
                        <a:t>Cí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7790184"/>
                  </a:ext>
                </a:extLst>
              </a:tr>
              <a:tr h="267458">
                <a:tc>
                  <a:txBody>
                    <a:bodyPr/>
                    <a:lstStyle/>
                    <a:p>
                      <a:r>
                        <a:rPr lang="cs-CZ"/>
                        <a:t>Délka tratě Drážďany – Prah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/>
                        <a:t>cca 196 k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/>
                        <a:t>cca 140 k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6220126"/>
                  </a:ext>
                </a:extLst>
              </a:tr>
              <a:tr h="267458">
                <a:tc>
                  <a:txBody>
                    <a:bodyPr/>
                    <a:lstStyle/>
                    <a:p>
                      <a:r>
                        <a:rPr lang="cs-CZ"/>
                        <a:t>Doba jízdy Drážďany – Prah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/>
                        <a:t>cca 2:15 ho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/>
                        <a:t>cca 1:05 hod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4028171"/>
                  </a:ext>
                </a:extLst>
              </a:tr>
              <a:tr h="267458">
                <a:tc>
                  <a:txBody>
                    <a:bodyPr/>
                    <a:lstStyle/>
                    <a:p>
                      <a:r>
                        <a:rPr lang="cs-CZ"/>
                        <a:t>Doba jízdy Berlín – Prah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/>
                        <a:t>cca 4:15 ho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/>
                        <a:t>cca 2:30 hod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8425657"/>
                  </a:ext>
                </a:extLst>
              </a:tr>
            </a:tbl>
          </a:graphicData>
        </a:graphic>
      </p:graphicFrame>
      <p:sp>
        <p:nvSpPr>
          <p:cNvPr id="10" name="Fußzeilenplatzhalter 5">
            <a:extLst>
              <a:ext uri="{FF2B5EF4-FFF2-40B4-BE49-F238E27FC236}">
                <a16:creationId xmlns:a16="http://schemas.microsoft.com/office/drawing/2014/main" id="{D16C6A5F-374F-4DB0-90C5-AC04BB5062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kern="1200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B Netz AG | Kay Müller | Informace k HSL v Česku| 28.11.2019</a:t>
            </a:r>
          </a:p>
        </p:txBody>
      </p:sp>
      <p:pic>
        <p:nvPicPr>
          <p:cNvPr id="12" name="Inhaltsplatzhalter 3">
            <a:extLst>
              <a:ext uri="{FF2B5EF4-FFF2-40B4-BE49-F238E27FC236}">
                <a16:creationId xmlns:a16="http://schemas.microsoft.com/office/drawing/2014/main" id="{B95B25D3-C147-42DD-A435-00FBFB2AC7F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4639" r="17725" b="22050"/>
          <a:stretch/>
        </p:blipFill>
        <p:spPr bwMode="auto">
          <a:xfrm>
            <a:off x="194875" y="1423869"/>
            <a:ext cx="4683736" cy="3036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ElementText1">
            <a:extLst>
              <a:ext uri="{FF2B5EF4-FFF2-40B4-BE49-F238E27FC236}">
                <a16:creationId xmlns:a16="http://schemas.microsoft.com/office/drawing/2014/main" id="{E586837E-BC7B-4A7F-BA62-894999EB598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212009" y="4493875"/>
            <a:ext cx="4738610" cy="93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cs-CZ" sz="900"/>
              <a:t>Zdroj: Deutsche Bahn AG/ vectorvision GbR/ </a:t>
            </a:r>
          </a:p>
        </p:txBody>
      </p:sp>
      <p:sp>
        <p:nvSpPr>
          <p:cNvPr id="13" name="Foliennummernplatzhalter 4">
            <a:extLst>
              <a:ext uri="{FF2B5EF4-FFF2-40B4-BE49-F238E27FC236}">
                <a16:creationId xmlns:a16="http://schemas.microsoft.com/office/drawing/2014/main" id="{0EBDD143-932F-4988-94D0-155428D1B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798A07C7-D735-4B2E-ADA5-AE35FF5852AD}" type="slidenum">
              <a:rPr lang="de-DE" altLang="de-DE" smtClean="0"/>
              <a:pPr>
                <a:defRPr/>
              </a:pPr>
              <a:t>5</a:t>
            </a:fld>
            <a:endParaRPr lang="de-DE" altLang="de-DE" sz="9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7215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Nový úsek tratě Drážďany – Praha</a:t>
            </a:r>
            <a:br>
              <a:rPr lang="cs-CZ"/>
            </a:br>
            <a:r>
              <a:rPr lang="cs-CZ"/>
              <a:t>Agenda</a:t>
            </a:r>
            <a:endParaRPr lang="de-DE" dirty="0"/>
          </a:p>
        </p:txBody>
      </p:sp>
      <p:sp>
        <p:nvSpPr>
          <p:cNvPr id="5" name="Rechteck 4"/>
          <p:cNvSpPr/>
          <p:nvPr>
            <p:custDataLst>
              <p:tags r:id="rId2"/>
            </p:custDataLst>
          </p:nvPr>
        </p:nvSpPr>
        <p:spPr bwMode="auto">
          <a:xfrm>
            <a:off x="0" y="1414486"/>
            <a:ext cx="9901238" cy="5040314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C1154BA-EF19-4E9F-B370-8E74733859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cs-CZ"/>
              <a:t>DB Netz AG | Kay Müller | Informace k HSL v Česku| 28.11.2019</a:t>
            </a:r>
          </a:p>
        </p:txBody>
      </p:sp>
      <p:grpSp>
        <p:nvGrpSpPr>
          <p:cNvPr id="4" name="easyAgenda">
            <a:extLst>
              <a:ext uri="{FF2B5EF4-FFF2-40B4-BE49-F238E27FC236}">
                <a16:creationId xmlns:a16="http://schemas.microsoft.com/office/drawing/2014/main" id="{BBD00A13-74B6-4913-99D1-BC7D032EC4D6}"/>
              </a:ext>
            </a:extLst>
          </p:cNvPr>
          <p:cNvGrpSpPr/>
          <p:nvPr/>
        </p:nvGrpSpPr>
        <p:grpSpPr>
          <a:xfrm>
            <a:off x="1352600" y="2601048"/>
            <a:ext cx="7776864" cy="2520000"/>
            <a:chOff x="1352600" y="1988840"/>
            <a:chExt cx="7776864" cy="2520000"/>
          </a:xfrm>
        </p:grpSpPr>
        <p:sp>
          <p:nvSpPr>
            <p:cNvPr id="6" name="0_Inhalt_Ebene1"/>
            <p:cNvSpPr txBox="1"/>
            <p:nvPr>
              <p:custDataLst>
                <p:tags r:id="rId3"/>
              </p:custDataLst>
            </p:nvPr>
          </p:nvSpPr>
          <p:spPr>
            <a:xfrm>
              <a:off x="2000672" y="1988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bg2"/>
                  </a:solidFill>
                </a:rPr>
                <a:t>Charakteristika a potenciál</a:t>
              </a: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7" name="0_Nummer_Ebene1"/>
            <p:cNvSpPr txBox="1"/>
            <p:nvPr>
              <p:custDataLst>
                <p:tags r:id="rId4"/>
              </p:custDataLst>
            </p:nvPr>
          </p:nvSpPr>
          <p:spPr>
            <a:xfrm>
              <a:off x="1352600" y="1988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bg2"/>
                  </a:solidFill>
                </a:rPr>
                <a:t>1</a:t>
              </a:r>
              <a:endParaRPr lang="de-DE" sz="2800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4" name="0_Seiten_Ebene1"/>
            <p:cNvSpPr txBox="1"/>
            <p:nvPr>
              <p:custDataLst>
                <p:tags r:id="rId5"/>
              </p:custDataLst>
            </p:nvPr>
          </p:nvSpPr>
          <p:spPr>
            <a:xfrm>
              <a:off x="8553400" y="1988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cxnSp>
          <p:nvCxnSpPr>
            <p:cNvPr id="18" name="0_elemnt_Ebene1">
              <a:extLst>
                <a:ext uri="{FF2B5EF4-FFF2-40B4-BE49-F238E27FC236}">
                  <a16:creationId xmlns:a16="http://schemas.microsoft.com/office/drawing/2014/main" id="{9EE7F911-63E1-43E3-A932-72EF76CC8F74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>
            <a:xfrm>
              <a:off x="2000314" y="2492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2_Inhalt_Ebene1">
              <a:extLst>
                <a:ext uri="{FF2B5EF4-FFF2-40B4-BE49-F238E27FC236}">
                  <a16:creationId xmlns:a16="http://schemas.microsoft.com/office/drawing/2014/main" id="{69F33B57-63D5-4376-B8BB-BFA19C894DCA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2000672" y="3284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bg2"/>
                  </a:solidFill>
                </a:rPr>
                <a:t>Stav plánování</a:t>
              </a: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3" name="3_Inhalt_Ebene1">
              <a:extLst>
                <a:ext uri="{FF2B5EF4-FFF2-40B4-BE49-F238E27FC236}">
                  <a16:creationId xmlns:a16="http://schemas.microsoft.com/office/drawing/2014/main" id="{36754A30-A00C-4540-AD3C-233817420839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2000672" y="3932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bg2"/>
                  </a:solidFill>
                </a:rPr>
                <a:t>Výhled</a:t>
              </a: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8" name="2_Nummer_Ebene1">
              <a:extLst>
                <a:ext uri="{FF2B5EF4-FFF2-40B4-BE49-F238E27FC236}">
                  <a16:creationId xmlns:a16="http://schemas.microsoft.com/office/drawing/2014/main" id="{A37F78AA-1483-4A1D-BB38-200C0B1ABFE9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1352600" y="3284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bg2"/>
                  </a:solidFill>
                </a:rPr>
                <a:t>3</a:t>
              </a:r>
              <a:endParaRPr lang="de-DE" sz="2800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9" name="3_Nummer_Ebene1">
              <a:extLst>
                <a:ext uri="{FF2B5EF4-FFF2-40B4-BE49-F238E27FC236}">
                  <a16:creationId xmlns:a16="http://schemas.microsoft.com/office/drawing/2014/main" id="{F91831D5-B886-4282-8181-5CA607C0965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1352600" y="3932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bg2"/>
                  </a:solidFill>
                </a:rPr>
                <a:t>4</a:t>
              </a:r>
              <a:endParaRPr lang="de-DE" sz="2800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34" name="1_Inhalt_Ebene1_Highlight">
              <a:extLst>
                <a:ext uri="{FF2B5EF4-FFF2-40B4-BE49-F238E27FC236}">
                  <a16:creationId xmlns:a16="http://schemas.microsoft.com/office/drawing/2014/main" id="{33B88F17-F8DE-4FC1-BFAE-52DEDBF9005F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2000672" y="2636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accent2"/>
                  </a:solidFill>
                </a:rPr>
                <a:t>Územní řízení</a:t>
              </a:r>
              <a:endParaRPr lang="de-DE" b="1" dirty="0">
                <a:solidFill>
                  <a:schemeClr val="accent2"/>
                </a:solidFill>
                <a:latin typeface="DB Office"/>
              </a:endParaRPr>
            </a:p>
          </p:txBody>
        </p:sp>
        <p:sp>
          <p:nvSpPr>
            <p:cNvPr id="37" name="1_Nummer_Ebene1_Highlight">
              <a:extLst>
                <a:ext uri="{FF2B5EF4-FFF2-40B4-BE49-F238E27FC236}">
                  <a16:creationId xmlns:a16="http://schemas.microsoft.com/office/drawing/2014/main" id="{F3BA0AC2-9E1C-4EA1-B602-5216929E434D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1352600" y="2636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accent2"/>
                  </a:solidFill>
                </a:rPr>
                <a:t>2</a:t>
              </a:r>
              <a:endParaRPr lang="de-DE" sz="2800" b="1" dirty="0">
                <a:solidFill>
                  <a:schemeClr val="accent2"/>
                </a:solidFill>
                <a:latin typeface="DB Office"/>
              </a:endParaRPr>
            </a:p>
          </p:txBody>
        </p:sp>
        <p:sp>
          <p:nvSpPr>
            <p:cNvPr id="41" name="2_Seiten_Ebene1">
              <a:extLst>
                <a:ext uri="{FF2B5EF4-FFF2-40B4-BE49-F238E27FC236}">
                  <a16:creationId xmlns:a16="http://schemas.microsoft.com/office/drawing/2014/main" id="{BD64678D-975E-4536-92E1-A0F1FF5F685A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8553400" y="3284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42" name="3_Seiten_Ebene1">
              <a:extLst>
                <a:ext uri="{FF2B5EF4-FFF2-40B4-BE49-F238E27FC236}">
                  <a16:creationId xmlns:a16="http://schemas.microsoft.com/office/drawing/2014/main" id="{24C12CEC-770B-4EB7-B74F-247C49D8FEDB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8553400" y="3932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43" name="1_Seiten_Ebene1_Highlight">
              <a:extLst>
                <a:ext uri="{FF2B5EF4-FFF2-40B4-BE49-F238E27FC236}">
                  <a16:creationId xmlns:a16="http://schemas.microsoft.com/office/drawing/2014/main" id="{BB06E5CA-9E29-4E70-BE30-81AE2B4E663C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8553400" y="2636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accent2"/>
                </a:solidFill>
                <a:latin typeface="DB Office"/>
              </a:endParaRPr>
            </a:p>
          </p:txBody>
        </p:sp>
        <p:cxnSp>
          <p:nvCxnSpPr>
            <p:cNvPr id="47" name="2_elemnt_Ebene1">
              <a:extLst>
                <a:ext uri="{FF2B5EF4-FFF2-40B4-BE49-F238E27FC236}">
                  <a16:creationId xmlns:a16="http://schemas.microsoft.com/office/drawing/2014/main" id="{599212E3-1854-4247-8E14-86B8ABFFFCCB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>
            <a:xfrm>
              <a:off x="2000314" y="3788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3_elemnt_Ebene1">
              <a:extLst>
                <a:ext uri="{FF2B5EF4-FFF2-40B4-BE49-F238E27FC236}">
                  <a16:creationId xmlns:a16="http://schemas.microsoft.com/office/drawing/2014/main" id="{45FF605F-9EA1-426D-B086-E3ECB8B88EBA}"/>
                </a:ext>
              </a:extLst>
            </p:cNvPr>
            <p:cNvCxnSpPr/>
            <p:nvPr>
              <p:custDataLst>
                <p:tags r:id="rId17"/>
              </p:custDataLst>
            </p:nvPr>
          </p:nvCxnSpPr>
          <p:spPr>
            <a:xfrm>
              <a:off x="2000314" y="4436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1_elemnt_Ebene1_Highlight">
              <a:extLst>
                <a:ext uri="{FF2B5EF4-FFF2-40B4-BE49-F238E27FC236}">
                  <a16:creationId xmlns:a16="http://schemas.microsoft.com/office/drawing/2014/main" id="{9E39B309-6F2F-4CC2-A710-77CCD032FB86}"/>
                </a:ext>
              </a:extLst>
            </p:cNvPr>
            <p:cNvCxnSpPr/>
            <p:nvPr>
              <p:custDataLst>
                <p:tags r:id="rId18"/>
              </p:custDataLst>
            </p:nvPr>
          </p:nvCxnSpPr>
          <p:spPr>
            <a:xfrm>
              <a:off x="2000224" y="3140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rgbClr val="FF0000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50090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23B5C82-E0A5-4BCA-8E7E-A13EF06CA3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65750" lvl="1" indent="-285750">
              <a:buFont typeface="Wingdings" panose="05000000000000000000" pitchFamily="2" charset="2"/>
              <a:buChar char="§"/>
            </a:pPr>
            <a:endParaRPr lang="de-DE" kern="1200" dirty="0">
              <a:solidFill>
                <a:srgbClr val="000000"/>
              </a:solidFill>
            </a:endParaRPr>
          </a:p>
          <a:p>
            <a:pPr lvl="1" indent="0">
              <a:buNone/>
            </a:pPr>
            <a:r>
              <a:rPr lang="cs-CZ" b="1" kern="1200">
                <a:solidFill>
                  <a:srgbClr val="000000"/>
                </a:solidFill>
              </a:rPr>
              <a:t>Nutné na základě § 1 č. 9 nařízení o územním plánování</a:t>
            </a:r>
            <a:endParaRPr lang="de-DE" kern="1200" dirty="0">
              <a:solidFill>
                <a:srgbClr val="000000"/>
              </a:solidFill>
            </a:endParaRPr>
          </a:p>
          <a:p>
            <a:pPr marL="465750" lvl="1" indent="-285750">
              <a:buFont typeface="Wingdings" panose="05000000000000000000" pitchFamily="2" charset="2"/>
              <a:buChar char="§"/>
            </a:pPr>
            <a:r>
              <a:rPr lang="cs-CZ" kern="1200">
                <a:solidFill>
                  <a:srgbClr val="000000"/>
                </a:solidFill>
              </a:rPr>
              <a:t>Nová výstavba železničních tratí ve spolkových zemích</a:t>
            </a:r>
          </a:p>
          <a:p>
            <a:pPr marL="465750" lvl="1" indent="-285750">
              <a:buFont typeface="Wingdings" panose="05000000000000000000" pitchFamily="2" charset="2"/>
              <a:buChar char="§"/>
            </a:pPr>
            <a:r>
              <a:rPr lang="cs-CZ" kern="1200">
                <a:solidFill>
                  <a:srgbClr val="000000"/>
                </a:solidFill>
              </a:rPr>
              <a:t>Regionálně významné plánování s nadregionálním významem</a:t>
            </a:r>
          </a:p>
          <a:p>
            <a:pPr marL="465750" lvl="1" indent="-285750">
              <a:buFont typeface="Wingdings" panose="05000000000000000000" pitchFamily="2" charset="2"/>
              <a:buChar char="§"/>
            </a:pPr>
            <a:endParaRPr lang="de-DE" kern="1200" dirty="0">
              <a:solidFill>
                <a:srgbClr val="000000"/>
              </a:solidFill>
            </a:endParaRPr>
          </a:p>
          <a:p>
            <a:pPr lvl="1" indent="0">
              <a:buNone/>
            </a:pPr>
            <a:r>
              <a:rPr lang="cs-CZ" b="1" kern="1200">
                <a:solidFill>
                  <a:srgbClr val="000000"/>
                </a:solidFill>
              </a:rPr>
              <a:t>Cíle ROV</a:t>
            </a:r>
          </a:p>
          <a:p>
            <a:pPr marL="465750" lvl="1" indent="-285750">
              <a:buFont typeface="Wingdings" panose="05000000000000000000" pitchFamily="2" charset="2"/>
              <a:buChar char="§"/>
            </a:pPr>
            <a:r>
              <a:rPr lang="cs-CZ" kern="1200">
                <a:solidFill>
                  <a:srgbClr val="000000"/>
                </a:solidFill>
              </a:rPr>
              <a:t>Kontrola, zda projekt splňuje požadavky pro územní plánování</a:t>
            </a:r>
          </a:p>
          <a:p>
            <a:pPr marL="465750" lvl="1" indent="-285750">
              <a:buFont typeface="Wingdings" panose="05000000000000000000" pitchFamily="2" charset="2"/>
              <a:buChar char="§"/>
            </a:pPr>
            <a:r>
              <a:rPr lang="cs-CZ" kern="1200">
                <a:solidFill>
                  <a:srgbClr val="000000"/>
                </a:solidFill>
              </a:rPr>
              <a:t>Identifikace dopadů na území (např. životní prostředí)</a:t>
            </a:r>
          </a:p>
          <a:p>
            <a:pPr marL="465750" lvl="1" indent="-285750">
              <a:buFont typeface="Wingdings" panose="05000000000000000000" pitchFamily="2" charset="2"/>
              <a:buChar char="§"/>
            </a:pPr>
            <a:r>
              <a:rPr lang="cs-CZ" kern="1200">
                <a:solidFill>
                  <a:srgbClr val="000000"/>
                </a:solidFill>
              </a:rPr>
              <a:t>Uvést projekt do souladu s potřebami jiného plánování a jiných opatření</a:t>
            </a:r>
          </a:p>
          <a:p>
            <a:pPr marL="465750" lvl="1" indent="-285750">
              <a:buFont typeface="Wingdings" panose="05000000000000000000" pitchFamily="2" charset="2"/>
              <a:buChar char="§"/>
            </a:pPr>
            <a:r>
              <a:rPr lang="cs-CZ" kern="1200">
                <a:solidFill>
                  <a:srgbClr val="000000"/>
                </a:solidFill>
              </a:rPr>
              <a:t>Hodnocení variant trasy</a:t>
            </a:r>
          </a:p>
          <a:p>
            <a:pPr marL="465750" lvl="1" indent="-285750">
              <a:buFont typeface="Wingdings" panose="05000000000000000000" pitchFamily="2" charset="2"/>
              <a:buChar char="§"/>
            </a:pPr>
            <a:endParaRPr lang="de-DE" kern="1200" dirty="0">
              <a:solidFill>
                <a:srgbClr val="000000"/>
              </a:solidFill>
            </a:endParaRPr>
          </a:p>
          <a:p>
            <a:pPr lvl="1" indent="0">
              <a:buNone/>
            </a:pPr>
            <a:r>
              <a:rPr lang="cs-CZ" b="1" kern="1200">
                <a:solidFill>
                  <a:srgbClr val="000000"/>
                </a:solidFill>
              </a:rPr>
              <a:t>Postup</a:t>
            </a:r>
          </a:p>
          <a:p>
            <a:pPr marL="465750" lvl="1" indent="-285750">
              <a:buFont typeface="Wingdings" panose="05000000000000000000" pitchFamily="2" charset="2"/>
              <a:buChar char="§"/>
            </a:pPr>
            <a:r>
              <a:rPr lang="cs-CZ" kern="1200">
                <a:solidFill>
                  <a:srgbClr val="000000"/>
                </a:solidFill>
              </a:rPr>
              <a:t>Zapojení úřadů, znalců, ekologických spolků, občanských iniciativ</a:t>
            </a:r>
          </a:p>
          <a:p>
            <a:pPr marL="465750" lvl="1" indent="-285750">
              <a:buFont typeface="Wingdings" panose="05000000000000000000" pitchFamily="2" charset="2"/>
              <a:buChar char="§"/>
            </a:pPr>
            <a:r>
              <a:rPr lang="cs-CZ" kern="1200">
                <a:solidFill>
                  <a:srgbClr val="000000"/>
                </a:solidFill>
              </a:rPr>
              <a:t>Vyžádání stanovisek</a:t>
            </a:r>
          </a:p>
          <a:p>
            <a:pPr marL="465750" lvl="1" indent="-285750">
              <a:buFont typeface="Wingdings" panose="05000000000000000000" pitchFamily="2" charset="2"/>
              <a:buChar char="§"/>
            </a:pPr>
            <a:r>
              <a:rPr lang="cs-CZ" kern="1200">
                <a:solidFill>
                  <a:srgbClr val="000000"/>
                </a:solidFill>
              </a:rPr>
              <a:t>Následně vystavení výsledků po dobu čtyř týdnů</a:t>
            </a:r>
          </a:p>
          <a:p>
            <a:pPr marL="465750" lvl="1" indent="-285750">
              <a:buFont typeface="Wingdings" panose="05000000000000000000" pitchFamily="2" charset="2"/>
              <a:buChar char="§"/>
            </a:pPr>
            <a:r>
              <a:rPr lang="cs-CZ" kern="1200">
                <a:solidFill>
                  <a:srgbClr val="000000"/>
                </a:solidFill>
              </a:rPr>
              <a:t>Nemá bezprostřední právní účinky, je však nutné zohlednění v dalším průběhu plánování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252457-AAB2-448E-9511-5153E89E65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cs-CZ"/>
              <a:t>DB Netz AG | Kay Müller | Informace k HSL v Česku| 28.11.2019</a:t>
            </a:r>
            <a:endParaRPr lang="de-DE" altLang="de-DE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FFDFC62D-C6B1-4BA8-98FD-F1CAD120A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383" y="362806"/>
            <a:ext cx="12169444" cy="792000"/>
          </a:xfrm>
        </p:spPr>
        <p:txBody>
          <a:bodyPr/>
          <a:lstStyle/>
          <a:p>
            <a:r>
              <a:rPr lang="cs-CZ" b="1"/>
              <a:t>Nový úsek tratě Drážďany – Praha </a:t>
            </a:r>
            <a:br>
              <a:rPr lang="cs-CZ"/>
            </a:br>
            <a:r>
              <a:rPr lang="cs-CZ"/>
              <a:t>Územní řízení (ROV)</a:t>
            </a:r>
            <a:endParaRPr lang="de-DE" dirty="0"/>
          </a:p>
        </p:txBody>
      </p:sp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2B679D51-75B5-46F7-BAC1-6BAEF2CF6D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798A07C7-D735-4B2E-ADA5-AE35FF5852AD}" type="slidenum">
              <a:rPr lang="de-DE" altLang="de-DE" smtClean="0"/>
              <a:pPr>
                <a:defRPr/>
              </a:pPr>
              <a:t>7</a:t>
            </a:fld>
            <a:endParaRPr lang="de-DE" altLang="de-DE" sz="900" dirty="0"/>
          </a:p>
        </p:txBody>
      </p:sp>
    </p:spTree>
    <p:extLst>
      <p:ext uri="{BB962C8B-B14F-4D97-AF65-F5344CB8AC3E}">
        <p14:creationId xmlns:p14="http://schemas.microsoft.com/office/powerpoint/2010/main" val="41120345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173405-8975-44A6-ACD2-1C21396F91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/>
              <a:t>Nový úsek tratě Drážďany – Praha </a:t>
            </a:r>
            <a:br>
              <a:rPr lang="cs-CZ"/>
            </a:br>
            <a:r>
              <a:rPr lang="cs-CZ"/>
              <a:t>Územní řízení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03A85BD-DECB-457B-9EA1-A6826EBBC9E3}"/>
              </a:ext>
            </a:extLst>
          </p:cNvPr>
          <p:cNvSpPr txBox="1"/>
          <p:nvPr/>
        </p:nvSpPr>
        <p:spPr>
          <a:xfrm>
            <a:off x="7346258" y="5843907"/>
            <a:ext cx="1492793" cy="12311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de-DE" sz="800" dirty="0">
              <a:latin typeface="DB Sans" panose="020B0502050202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4EB1DB9-2F7B-4E5C-9C53-040379847BA6}"/>
              </a:ext>
            </a:extLst>
          </p:cNvPr>
          <p:cNvSpPr txBox="1"/>
          <p:nvPr/>
        </p:nvSpPr>
        <p:spPr>
          <a:xfrm>
            <a:off x="-1238" y="1558532"/>
            <a:ext cx="1494031" cy="97490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de-DE" dirty="0" err="1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0E0CDF2-C2AB-456D-983E-6760FEA3A7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31" y="1521352"/>
            <a:ext cx="9880969" cy="3815295"/>
          </a:xfrm>
          <a:prstGeom prst="rect">
            <a:avLst/>
          </a:prstGeom>
        </p:spPr>
      </p:pic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80989870-5168-40F9-9ACA-61C24CF11A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4000" y="6692901"/>
            <a:ext cx="6894959" cy="93663"/>
          </a:xfr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kern="1200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B Netz AG | Kay Müller | Informace k HSL v Česku| 28.11.2019</a:t>
            </a:r>
          </a:p>
        </p:txBody>
      </p:sp>
      <p:sp>
        <p:nvSpPr>
          <p:cNvPr id="9" name="ElementText1">
            <a:extLst>
              <a:ext uri="{FF2B5EF4-FFF2-40B4-BE49-F238E27FC236}">
                <a16:creationId xmlns:a16="http://schemas.microsoft.com/office/drawing/2014/main" id="{F12C6A4C-DF0E-40BB-824D-768FEBB17B04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54075" y="5373216"/>
            <a:ext cx="4738610" cy="93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Font typeface="Symbol" pitchFamily="18" charset="2"/>
              <a:buChar char="-"/>
              <a:tabLst/>
              <a:defRPr lang="de-DE" sz="1400" kern="1200" baseline="0" dirty="0" smtClean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533400" indent="-1778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§"/>
              <a:defRPr lang="de-DE" sz="1400" kern="1200" dirty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723900" indent="-190500" algn="l" defTabSz="914400" rtl="0" eaLnBrk="1" latinLnBrk="0" hangingPunct="1">
              <a:spcBef>
                <a:spcPts val="300"/>
              </a:spcBef>
              <a:buClr>
                <a:srgbClr val="FF0000"/>
              </a:buClr>
              <a:buSzPct val="100000"/>
              <a:buFont typeface="Wingdings" pitchFamily="2" charset="2"/>
              <a:buChar char=""/>
              <a:defRPr sz="1400" kern="1200" baseline="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901700" indent="-177800" algn="l" defTabSz="914400" rtl="0" eaLnBrk="1" latinLnBrk="0" hangingPunct="1"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cs-CZ" sz="900"/>
              <a:t>Zdroj: Deutsche Bahn AG/ designhau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09ACFFC-E5B3-4808-B203-41F2B1E5A1EA}"/>
              </a:ext>
            </a:extLst>
          </p:cNvPr>
          <p:cNvSpPr txBox="1"/>
          <p:nvPr/>
        </p:nvSpPr>
        <p:spPr>
          <a:xfrm>
            <a:off x="342107" y="5589240"/>
            <a:ext cx="921702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/>
              <a:t>V rámci územního řízení se zkoumá 7 různých variant vedení trasy. Následně proběhne plánování  dvou různých variant.</a:t>
            </a:r>
          </a:p>
        </p:txBody>
      </p:sp>
      <p:sp>
        <p:nvSpPr>
          <p:cNvPr id="13" name="Foliennummernplatzhalter 4">
            <a:extLst>
              <a:ext uri="{FF2B5EF4-FFF2-40B4-BE49-F238E27FC236}">
                <a16:creationId xmlns:a16="http://schemas.microsoft.com/office/drawing/2014/main" id="{24C8DE74-1846-46AB-AB77-F184160892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>
            <a:off x="198000" y="6692901"/>
            <a:ext cx="288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DB Office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798A07C7-D735-4B2E-ADA5-AE35FF5852AD}" type="slidenum">
              <a:rPr lang="de-DE" altLang="de-DE" smtClean="0"/>
              <a:pPr>
                <a:defRPr/>
              </a:pPr>
              <a:t>8</a:t>
            </a:fld>
            <a:endParaRPr lang="de-DE" altLang="de-DE" sz="900" dirty="0"/>
          </a:p>
        </p:txBody>
      </p:sp>
    </p:spTree>
    <p:extLst>
      <p:ext uri="{BB962C8B-B14F-4D97-AF65-F5344CB8AC3E}">
        <p14:creationId xmlns:p14="http://schemas.microsoft.com/office/powerpoint/2010/main" val="14513287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Nový úsek tratě Drážďany – Praha</a:t>
            </a:r>
            <a:br>
              <a:rPr lang="cs-CZ"/>
            </a:br>
            <a:r>
              <a:rPr lang="cs-CZ"/>
              <a:t>Agenda</a:t>
            </a:r>
            <a:endParaRPr lang="de-DE" dirty="0"/>
          </a:p>
        </p:txBody>
      </p:sp>
      <p:sp>
        <p:nvSpPr>
          <p:cNvPr id="5" name="Rechteck 4"/>
          <p:cNvSpPr/>
          <p:nvPr>
            <p:custDataLst>
              <p:tags r:id="rId2"/>
            </p:custDataLst>
          </p:nvPr>
        </p:nvSpPr>
        <p:spPr bwMode="auto">
          <a:xfrm>
            <a:off x="0" y="1414486"/>
            <a:ext cx="9901238" cy="5040314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solidFill>
                <a:srgbClr val="FFFFFF"/>
              </a:solidFill>
              <a:effectLst/>
              <a:latin typeface="DB Office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C1154BA-EF19-4E9F-B370-8E74733859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cs-CZ"/>
              <a:t>DB Netz AG | Kay Müller | Informace k HSL v Česku| 28.11.2019</a:t>
            </a:r>
          </a:p>
        </p:txBody>
      </p:sp>
      <p:grpSp>
        <p:nvGrpSpPr>
          <p:cNvPr id="4" name="easyAgenda">
            <a:extLst>
              <a:ext uri="{FF2B5EF4-FFF2-40B4-BE49-F238E27FC236}">
                <a16:creationId xmlns:a16="http://schemas.microsoft.com/office/drawing/2014/main" id="{699D0149-35F3-40E1-83D7-F9F5670CBD1B}"/>
              </a:ext>
            </a:extLst>
          </p:cNvPr>
          <p:cNvGrpSpPr/>
          <p:nvPr/>
        </p:nvGrpSpPr>
        <p:grpSpPr>
          <a:xfrm>
            <a:off x="1352600" y="2601048"/>
            <a:ext cx="7776864" cy="2520000"/>
            <a:chOff x="1352600" y="1988840"/>
            <a:chExt cx="7776864" cy="2520000"/>
          </a:xfrm>
        </p:grpSpPr>
        <p:sp>
          <p:nvSpPr>
            <p:cNvPr id="6" name="0_Inhalt_Ebene1"/>
            <p:cNvSpPr txBox="1"/>
            <p:nvPr>
              <p:custDataLst>
                <p:tags r:id="rId3"/>
              </p:custDataLst>
            </p:nvPr>
          </p:nvSpPr>
          <p:spPr>
            <a:xfrm>
              <a:off x="2000672" y="1988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bg2"/>
                  </a:solidFill>
                </a:rPr>
                <a:t>Charakteristika a potenciál</a:t>
              </a: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7" name="0_Nummer_Ebene1"/>
            <p:cNvSpPr txBox="1"/>
            <p:nvPr>
              <p:custDataLst>
                <p:tags r:id="rId4"/>
              </p:custDataLst>
            </p:nvPr>
          </p:nvSpPr>
          <p:spPr>
            <a:xfrm>
              <a:off x="1352600" y="1988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bg2"/>
                  </a:solidFill>
                </a:rPr>
                <a:t>1</a:t>
              </a:r>
              <a:endParaRPr lang="de-DE" sz="2800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4" name="0_Seiten_Ebene1"/>
            <p:cNvSpPr txBox="1"/>
            <p:nvPr>
              <p:custDataLst>
                <p:tags r:id="rId5"/>
              </p:custDataLst>
            </p:nvPr>
          </p:nvSpPr>
          <p:spPr>
            <a:xfrm>
              <a:off x="8553400" y="1988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cxnSp>
          <p:nvCxnSpPr>
            <p:cNvPr id="18" name="0_elemnt_Ebene1">
              <a:extLst>
                <a:ext uri="{FF2B5EF4-FFF2-40B4-BE49-F238E27FC236}">
                  <a16:creationId xmlns:a16="http://schemas.microsoft.com/office/drawing/2014/main" id="{9EE7F911-63E1-43E3-A932-72EF76CC8F74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>
            <a:xfrm>
              <a:off x="2000314" y="2492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1_Inhalt_Ebene1">
              <a:extLst>
                <a:ext uri="{FF2B5EF4-FFF2-40B4-BE49-F238E27FC236}">
                  <a16:creationId xmlns:a16="http://schemas.microsoft.com/office/drawing/2014/main" id="{BF3A8EB0-813D-4F84-9206-F916F16E5759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2000672" y="2636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bg2"/>
                  </a:solidFill>
                </a:rPr>
                <a:t>Územní řízení</a:t>
              </a: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3" name="3_Inhalt_Ebene1">
              <a:extLst>
                <a:ext uri="{FF2B5EF4-FFF2-40B4-BE49-F238E27FC236}">
                  <a16:creationId xmlns:a16="http://schemas.microsoft.com/office/drawing/2014/main" id="{36754A30-A00C-4540-AD3C-233817420839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2000672" y="3932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bg2"/>
                  </a:solidFill>
                </a:rPr>
                <a:t>Výhled</a:t>
              </a: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7" name="1_Nummer_Ebene1">
              <a:extLst>
                <a:ext uri="{FF2B5EF4-FFF2-40B4-BE49-F238E27FC236}">
                  <a16:creationId xmlns:a16="http://schemas.microsoft.com/office/drawing/2014/main" id="{521CD184-E69B-494E-A4B4-9A8F59E9B25A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1352600" y="2636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bg2"/>
                  </a:solidFill>
                </a:rPr>
                <a:t>2</a:t>
              </a:r>
              <a:endParaRPr lang="de-DE" sz="2800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29" name="3_Nummer_Ebene1">
              <a:extLst>
                <a:ext uri="{FF2B5EF4-FFF2-40B4-BE49-F238E27FC236}">
                  <a16:creationId xmlns:a16="http://schemas.microsoft.com/office/drawing/2014/main" id="{F91831D5-B886-4282-8181-5CA607C09652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>
            <a:xfrm>
              <a:off x="1352600" y="3932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bg2"/>
                  </a:solidFill>
                </a:rPr>
                <a:t>4</a:t>
              </a:r>
              <a:endParaRPr lang="de-DE" sz="2800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35" name="2_Inhalt_Ebene1_Highlight">
              <a:extLst>
                <a:ext uri="{FF2B5EF4-FFF2-40B4-BE49-F238E27FC236}">
                  <a16:creationId xmlns:a16="http://schemas.microsoft.com/office/drawing/2014/main" id="{B7CA3E92-BE3D-49DC-9188-2750168FDAE8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>
            <a:xfrm>
              <a:off x="2000672" y="3284840"/>
              <a:ext cx="6624000" cy="576000"/>
            </a:xfrm>
            <a:prstGeom prst="rect">
              <a:avLst/>
            </a:prstGeom>
            <a:noFill/>
          </p:spPr>
          <p:txBody>
            <a:bodyPr wrap="square" lIns="0" tIns="144000" rIns="0" bIns="0" rtlCol="0" anchor="t" anchorCtr="0">
              <a:noAutofit/>
            </a:bodyPr>
            <a:lstStyle/>
            <a:p>
              <a:pPr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b="1">
                  <a:solidFill>
                    <a:schemeClr val="accent2"/>
                  </a:solidFill>
                </a:rPr>
                <a:t>Stav plánování</a:t>
              </a:r>
              <a:endParaRPr lang="de-DE" b="1" dirty="0">
                <a:solidFill>
                  <a:schemeClr val="accent2"/>
                </a:solidFill>
                <a:latin typeface="DB Office"/>
              </a:endParaRPr>
            </a:p>
          </p:txBody>
        </p:sp>
        <p:sp>
          <p:nvSpPr>
            <p:cNvPr id="38" name="2_Nummer_Ebene1_Highlight">
              <a:extLst>
                <a:ext uri="{FF2B5EF4-FFF2-40B4-BE49-F238E27FC236}">
                  <a16:creationId xmlns:a16="http://schemas.microsoft.com/office/drawing/2014/main" id="{D7E98074-AFB1-423E-A439-8461ABDCEE89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>
            <a:xfrm>
              <a:off x="1352600" y="3284840"/>
              <a:ext cx="504056" cy="576000"/>
            </a:xfrm>
            <a:prstGeom prst="rect">
              <a:avLst/>
            </a:prstGeom>
            <a:noFill/>
          </p:spPr>
          <p:txBody>
            <a:bodyPr wrap="none" lIns="0" tIns="72000" rIns="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r>
                <a:rPr lang="cs-CZ" sz="2800" b="1">
                  <a:solidFill>
                    <a:schemeClr val="accent2"/>
                  </a:solidFill>
                </a:rPr>
                <a:t>3</a:t>
              </a:r>
              <a:endParaRPr lang="de-DE" sz="2800" b="1" dirty="0">
                <a:solidFill>
                  <a:schemeClr val="accent2"/>
                </a:solidFill>
                <a:latin typeface="DB Office"/>
              </a:endParaRPr>
            </a:p>
          </p:txBody>
        </p:sp>
        <p:sp>
          <p:nvSpPr>
            <p:cNvPr id="40" name="1_Seiten_Ebene1">
              <a:extLst>
                <a:ext uri="{FF2B5EF4-FFF2-40B4-BE49-F238E27FC236}">
                  <a16:creationId xmlns:a16="http://schemas.microsoft.com/office/drawing/2014/main" id="{630035D3-552E-449C-B500-325CB3DB8A91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>
            <a:xfrm>
              <a:off x="8553400" y="2636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42" name="3_Seiten_Ebene1">
              <a:extLst>
                <a:ext uri="{FF2B5EF4-FFF2-40B4-BE49-F238E27FC236}">
                  <a16:creationId xmlns:a16="http://schemas.microsoft.com/office/drawing/2014/main" id="{24C12CEC-770B-4EB7-B74F-247C49D8FEDB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8553400" y="3932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bg2"/>
                </a:solidFill>
                <a:latin typeface="DB Office"/>
              </a:endParaRPr>
            </a:p>
          </p:txBody>
        </p:sp>
        <p:sp>
          <p:nvSpPr>
            <p:cNvPr id="44" name="2_Seiten_Ebene1_Highlight">
              <a:extLst>
                <a:ext uri="{FF2B5EF4-FFF2-40B4-BE49-F238E27FC236}">
                  <a16:creationId xmlns:a16="http://schemas.microsoft.com/office/drawing/2014/main" id="{941B8A2A-3064-468D-9562-02228AA27994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8553400" y="3284840"/>
              <a:ext cx="576064" cy="576000"/>
            </a:xfrm>
            <a:prstGeom prst="rect">
              <a:avLst/>
            </a:prstGeom>
            <a:noFill/>
          </p:spPr>
          <p:txBody>
            <a:bodyPr wrap="none" lIns="0" tIns="144000" rIns="72000" bIns="0" rtlCol="0" anchor="t" anchorCtr="0">
              <a:noAutofit/>
            </a:bodyPr>
            <a:lstStyle/>
            <a:p>
              <a:pPr algn="r">
                <a:spcBef>
                  <a:spcPts val="600"/>
                </a:spcBef>
                <a:buClr>
                  <a:srgbClr val="FF0000"/>
                </a:buClr>
                <a:buSzPct val="85000"/>
              </a:pPr>
              <a:endParaRPr lang="de-DE" b="1" dirty="0">
                <a:solidFill>
                  <a:schemeClr val="accent2"/>
                </a:solidFill>
                <a:latin typeface="DB Office"/>
              </a:endParaRPr>
            </a:p>
          </p:txBody>
        </p:sp>
        <p:cxnSp>
          <p:nvCxnSpPr>
            <p:cNvPr id="46" name="1_elemnt_Ebene1">
              <a:extLst>
                <a:ext uri="{FF2B5EF4-FFF2-40B4-BE49-F238E27FC236}">
                  <a16:creationId xmlns:a16="http://schemas.microsoft.com/office/drawing/2014/main" id="{0D2A30DA-9292-4AC0-B6C3-7056A76995EC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>
            <a:xfrm>
              <a:off x="2000314" y="3140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3_elemnt_Ebene1">
              <a:extLst>
                <a:ext uri="{FF2B5EF4-FFF2-40B4-BE49-F238E27FC236}">
                  <a16:creationId xmlns:a16="http://schemas.microsoft.com/office/drawing/2014/main" id="{45FF605F-9EA1-426D-B086-E3ECB8B88EBA}"/>
                </a:ext>
              </a:extLst>
            </p:cNvPr>
            <p:cNvCxnSpPr/>
            <p:nvPr>
              <p:custDataLst>
                <p:tags r:id="rId17"/>
              </p:custDataLst>
            </p:nvPr>
          </p:nvCxnSpPr>
          <p:spPr>
            <a:xfrm>
              <a:off x="2000314" y="4436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chemeClr val="bg2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2_elemnt_Ebene1_Highlight">
              <a:extLst>
                <a:ext uri="{FF2B5EF4-FFF2-40B4-BE49-F238E27FC236}">
                  <a16:creationId xmlns:a16="http://schemas.microsoft.com/office/drawing/2014/main" id="{266F6439-20DB-494B-9C1E-379134F512DD}"/>
                </a:ext>
              </a:extLst>
            </p:cNvPr>
            <p:cNvCxnSpPr/>
            <p:nvPr>
              <p:custDataLst>
                <p:tags r:id="rId18"/>
              </p:custDataLst>
            </p:nvPr>
          </p:nvCxnSpPr>
          <p:spPr>
            <a:xfrm>
              <a:off x="2000224" y="3788896"/>
              <a:ext cx="7126223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bg1"/>
                  </a:gs>
                  <a:gs pos="100000">
                    <a:srgbClr val="FF0000"/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55196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" val="db-netze_grau.potx"/>
  <p:tag name="CREATEDBY" val="TW_CP"/>
  <p:tag name="LANGUAGE" val="german"/>
  <p:tag name="AGENDAPIC" val=""/>
  <p:tag name="SHOWAGENDASLIDENUMBER" val="no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9tCHjCESoUBe32xPjNw"/>
  <p:tag name="EASYCHECK" val=";ONGR;OWFC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Pb1ZyuS.k2X4TTSZq89jA"/>
  <p:tag name="EASYCHECK" val=";ONGR;OWFC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CAXP0Hc1UOzAIE8A5Uh1w"/>
  <p:tag name="EASYCHECK" val=";ONGR;OWFC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7fHSYVjzEu5iWLgDFyUsQ"/>
  <p:tag name="EASYCHECK" val=";ONGR;OWFC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UbQ35SZP06zRss2cgV_mA"/>
  <p:tag name="EASYCHECK" val=";ONGR;OWFC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jGn6OWsFUW7b4rq.aeNzQ"/>
  <p:tag name="EASYCHECK" val=";ONG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DtFV5iq.ESoXRja28Lb_A"/>
  <p:tag name="EASYCHECK" val=";ONGR;OWFC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vmEY.fmwUKKxilsoei74w"/>
  <p:tag name="EASYCHECK" val=";ONGR;OWFC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NAME" val="v_217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,87976"/>
  <p:tag name="TOP" val="139,6316"/>
  <p:tag name="BREITE" val="439,8494"/>
  <p:tag name="HOEHE" val="219,894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18_04_23-20:01:57"/>
  <p:tag name="AGENDA" val="659405"/>
  <p:tag name="AGENDAHATSEITENZAHL" val="0"/>
  <p:tag name="AGENDATYP" val="1"/>
  <p:tag name="AGENDAFIRSTCHAPTER" val="1"/>
  <p:tag name="AGENDASHOW2NDLEVEL" val="0"/>
  <p:tag name="AGENDASUMMARY" val="0"/>
  <p:tag name="AGENDAPUNKT" val="2"/>
  <p:tag name="AGENDAEBENE" val="1"/>
  <p:tag name="AGENDAITEM" val="Raumordnungsverfahre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OWS"/>
  <p:tag name="NOGROUP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,87976"/>
  <p:tag name="TOP" val="139,6316"/>
  <p:tag name="BREITE" val="439,8494"/>
  <p:tag name="HOEHE" val="219,894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18_04_23-20:01:57"/>
  <p:tag name="AGENDA" val="659405"/>
  <p:tag name="AGENDAHATSEITENZAHL" val="0"/>
  <p:tag name="AGENDATYP" val="1"/>
  <p:tag name="AGENDAFIRSTCHAPTER" val="1"/>
  <p:tag name="AGENDASHOW2NDLEVEL" val="0"/>
  <p:tag name="AGENDASUMMARY" val="0"/>
  <p:tag name="AGENDAPUNKT" val="3"/>
  <p:tag name="AGENDAEBENE" val="1"/>
  <p:tag name="AGENDAITEM" val="Stand der Planunge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OWS"/>
  <p:tag name="NOGROUP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,87976"/>
  <p:tag name="TOP" val="139,6316"/>
  <p:tag name="BREITE" val="439,8494"/>
  <p:tag name="HOEHE" val="219,894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.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18_04_23-20:01:57"/>
  <p:tag name="AGENDA" val="659405"/>
  <p:tag name="AGENDAHATSEITENZAHL" val="0"/>
  <p:tag name="AGENDATYP" val="1"/>
  <p:tag name="AGENDAFIRSTCHAPTER" val="1"/>
  <p:tag name="AGENDASHOW2NDLEVEL" val="0"/>
  <p:tag name="AGENDASUMMARY" val="0"/>
  <p:tag name="AGENDAPUNKT" val="4"/>
  <p:tag name="AGENDAEBENE" val="1"/>
  <p:tag name="AGENDAITEM" val="Ausblick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OWS"/>
  <p:tag name="NOGROUP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1.;21.;22.;22.;23.;23.;24.;24."/>
  <p:tag name="EASYCHANGED" val="18_06_11-21:04:0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324.;325.;326.;327.;328.;329.;330.;331.;332.;259.;260.;261.;262.;263.;264.;265.;266.;267.;259.;260.;261.;262.;263.;264.;265.;266.;267.;259.;260.;261.;262.;263.;264.;265.;266.;267.;259.;260.;261.;262.;263.;264.;265.;266.;267.;259.;260.;261.;262.;263.;264.;265.;266.;267.;259.;260.;261.;262.;263.;264.;265.;266.;267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155.;1156.;1157.;1158.;1159.;1160.;1172.;1173.;1174.;1175.;1176.;1177.;1172.;1173.;1174.;1175.;1176.;1177."/>
  <p:tag name="BREITE" val="297,6561"/>
  <p:tag name="HOEHE" val="170,656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187.;1188.;1189.;1190.;1204.;1205.;1206.;1207.;1204.;1205.;1206.;1207."/>
  <p:tag name="BREITE" val="235,0383"/>
  <p:tag name="HOEHE" val="159,632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,87976"/>
  <p:tag name="TOP" val="139,6316"/>
  <p:tag name="BREITE" val="439,8494"/>
  <p:tag name="HOEHE" val="219,894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18_06_11-21:04:4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44,543"/>
  <p:tag name="TOP" val="173,6113"/>
  <p:tag name="BREITE" val="79,99999"/>
  <p:tag name="HOEHE" val="79,9999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791.;1792.;1793.;1794.;1795.;1796.;1797.;1798.;1799.;1800.;1801.;1802.;1803.;1804.;1805.;1806.;1807.;1808.;1809.;1810.;1811.;1812.;1813.;1814.;1815.;1816.;1817.;1818.;1819.;1820.;1821.;1822.;1823.;1824.;1825.;1826.;1827.;1828.;1829.;1830.;1831.;1832.;1833.;1834.;1835.;1836.;1837.;1838.;1839.;1840.;1841.;1842.;1843.;1844.;1845.;1846.;1847.;1848.;1849.;1850.;1851.;1852.;1853.;1854.;1855.;1856.;1857.;1858.;1859.;1860.;1861.;1862.;1863.;1864.;1865.;1866.;1867.;1868.;1869.;1870.;1871.;1872.;1873.;1874.;1875.;1876.;1877.;1878.;1879.;1880.;1881.;1882.;1883.;1884.;1885.;1886.;1887.;1888.;1889.;1890.;1891.;1892.;1893.;1894.;1895.;1896.;1897.;1898.;1899.;1900.;1901.;1902.;1903.;1904.;1905.;1906.;1907.;1908.;1909.;1910.;1911.;1912.;1913.;1914.;1915.;1916.;1917.;1918.;1919.;1920.;1921.;1922.;1923.;1924.;1925.;1926.;1927.;1928.;1929.;1930.;1931.;1932.;1933.;1934.;1935.;1936.;1937.;1938.;1939.;1940.;1941.;1942.;1943.;1944.;1945.;1946.;1947.;1948.;1713.;1714.;1715.;1716.;1717.;1718.;1719.;1720.;1721.;1722.;1723.;1724.;1725.;1726.;1727.;1728.;1729.;1730.;1731.;1732.;1733.;1734.;1735.;1736.;1737.;1738.;1739.;1740.;1741.;1742.;1743.;1744.;1745.;1746.;1747.;1748.;1749.;1750.;1751.;1752.;1753.;1754.;1755.;1756.;1757.;1758.;1759.;1760.;1761.;1762.;1763.;1764.;1765.;1766.;1767.;1768.;1769.;1770.;1771.;1772.;1773.;1774.;1775.;1776.;1777.;1778.;1779.;1780.;1781.;1782.;1783.;1784.;1785.;1786.;1787.;1788.;1789.;1790.;1791.;1792.;1793.;1794.;1795.;1796.;1797.;1798.;1799.;1800.;1801.;1802.;1803.;1804.;1805.;1806.;1807.;1808.;1809.;1810.;1811.;1812.;1813.;1814.;1815.;1816.;1817.;1818.;1819.;1820.;1821.;1822.;1823.;1824.;1825.;1826.;1827.;1828.;1829.;1830.;1831.;1832.;1833.;1834.;1835.;1836.;1837.;1838.;1839.;1840.;1841.;1842.;1843.;1844.;1845.;1846.;1847.;1848.;1849.;1850.;1851.;1852.;1853.;1854.;1855.;1856.;1857.;1858.;1859.;1860.;1861.;1862.;1863.;1864.;1865.;1866.;1867.;1868.;1869.;1870.;1675.;1676.;1677.;1678.;1679.;1680.;1681.;1682.;1683.;1684.;1685.;1686.;1687.;1688.;1689.;1690.;1691.;1692.;1693.;1694.;1695.;1696.;1697.;1698.;1699.;1700.;1701.;1702.;1703.;1704.;1705.;1706.;1707.;1708.;1709.;1710.;1711.;1712.;1713.;1714.;1715.;1716.;1717.;1718.;1719.;1720.;1721.;1722.;1723.;1724.;1725.;1726.;1727.;1728.;1729.;1730.;1731.;1732.;1733.;1734.;1735.;1736.;1737.;1738.;1739.;1740.;1741.;1742.;1743.;1744.;1745.;1746.;1747.;1748.;1749.;1750.;1751.;1752.;1753.;1754.;1755.;1756.;1757.;1758.;1759.;1760.;1761.;1762.;1763.;1764.;1765.;1766.;1767.;1768.;1769.;1770.;1771.;1772.;1773.;1774.;1775.;1776.;1777.;1778.;1779.;1780.;1781.;1782.;1783.;1784.;1785.;1786.;1787.;1788.;1789.;1790.;1791.;1792.;1793.;1794.;1795.;1796.;1797.;1798.;1799.;1800.;1801.;1802.;1803.;1804.;1805.;1806.;1807.;1808.;1809.;1810.;1811.;1812.;1813.;1814.;1815.;1816.;1817.;1818.;1819.;1820.;1821.;1822.;1823.;1824.;1825.;1826.;1827.;1828.;1829.;1830.;1831.;1832.;1519.;1520.;1521.;1522.;1523.;1524.;1525.;1526.;1527.;1528.;1529.;1530.;1531.;1532.;1533.;1534.;1535.;1536.;1537.;1538.;1539.;1540.;1541.;1542.;1543.;1544.;1545.;1546.;1547.;1548.;1549.;1550.;1551.;1552.;1553.;1554.;1555.;1556.;1557.;1558.;1559.;1560.;1561.;1562.;1563.;1564.;1565.;1566.;1567.;1568.;1569.;1570.;1571.;1572.;1573.;1574.;1575.;1576.;1577.;1578.;1579.;1580.;1581.;1582.;1583.;1584.;1585.;1586.;1587.;1588.;1589.;1590.;1591.;1592.;1593.;1594.;1595.;1596.;1597.;1598.;1599.;1600.;1601.;1602.;1603.;1604.;1605.;1606.;1607.;1608.;1609.;1610.;1611.;1612.;1613.;1614.;1615.;1616.;1617.;1618.;1619.;1620.;1621.;1622.;1623.;1624.;1625.;1626.;1627.;1628.;1629.;1630.;1631.;1632.;1633.;1634.;1635.;1636.;1637.;1638.;1639.;1640.;1641.;1642.;1643.;1644.;1645.;1646.;1647.;1648.;1649.;1650.;1651.;1652.;1653.;1654.;1655.;1656.;1657.;1658.;1659.;1660.;1661.;1662.;1663.;1664.;1665.;1666.;1667.;1668.;1669.;1670.;1671.;1672.;1673.;1674.;1675.;1676.;1508.;1509.;1510.;1511.;1512.;1513.;1514.;1515.;1516.;1517.;1518.;1519.;1520.;1521.;1522.;1523.;1524.;1525.;1526.;1527.;1528.;1529.;1530.;1531.;1532.;1533.;1534.;1535.;1536.;1537.;1538.;1539.;1540.;1541.;1542.;1543.;1544.;1545.;1546.;1547.;1548.;1549.;1550.;1551.;1552.;1553.;1554.;1555.;1556.;1557.;1558.;1559.;1560.;1561.;1562.;1563.;1564.;1565.;1566.;1567.;1568.;1569.;1570.;1571.;1572.;1573.;1574.;1575.;1576.;1577.;1578.;1579.;1580.;1581.;1582.;1583.;1584.;1585.;1586.;1587.;1588.;1589.;1590.;1591.;1592.;1593.;1594.;1595.;1596.;1597.;1598.;1599.;1600.;1601.;1602.;1603.;1604.;1605.;1606.;1607.;1608.;1609.;1610.;1611.;1612.;1613.;1614.;1615.;1616.;1617.;1618.;1619.;1620.;1621.;1622.;1623.;1624.;1625.;1626.;1627.;1628.;1629.;1630.;1631.;1632.;1633.;1634.;1635.;1636.;1637.;1638.;1639.;1640.;1641.;1642.;1643.;1644.;1645.;1646.;1647.;1648.;1649.;1650.;1651.;1652.;1653.;1654.;1655.;1656.;1657.;1658.;1659.;1660.;1661.;1662.;1663.;1664.;1665.;1475.;1476.;1477.;1478.;1479.;1480.;1481.;1482.;1483.;1484.;1485.;1486.;1487.;1488.;1489.;1490.;1491.;1492.;1493.;1494.;1495.;1496.;1497.;1498.;1499.;1500.;1501.;1502.;1503.;1504.;1505.;1506.;1507.;1508.;1509.;1510.;1511.;1512.;1513.;1514.;1515.;1516.;1517.;1518.;1519.;1520.;1521.;1522.;1523.;1524.;1525.;1526.;1527.;1528.;1529.;1530.;1531.;1532.;1533.;1534.;1535.;1536.;1537.;1538.;1539.;1540.;1541.;1542.;1543.;1544.;1545.;1546.;1547.;1548.;1549.;1550.;1551.;1552.;1553.;1554.;1555.;1556.;1557.;1558.;1559.;1560.;1561.;1562.;1563.;1564.;1565.;1566.;1567.;1568.;1569.;1570.;1571.;1572.;1573.;1574.;1575.;1576.;1577.;1578.;1579.;1580.;1581.;1582.;1583.;1584.;1585.;1586.;1587.;1588.;1589.;1590.;1591.;1592.;1593.;1594.;1595.;1596.;1597.;1598.;1599.;1600.;1601.;1602.;1603.;1604.;1605.;1606.;1607.;1608.;1609.;1610.;1611.;1612.;1613.;1614.;1615.;1616.;1617.;1618.;1619.;1620.;1621.;1622.;1623.;1624.;1625.;1626.;1627.;1628.;1629.;1630.;1631.;1632.;1439.;1440.;1441.;1442.;1443.;1444.;1445.;1446.;1447.;1448.;1449.;1450.;1451.;1452.;1453.;1454.;1455.;1456.;1457.;1458.;1459.;1460.;1461.;1462.;1463.;1464.;1465.;1466.;1467.;1468.;1469.;1470.;1471.;1472.;1473.;1474.;1475.;1476.;1477.;1478.;1479.;1480.;1481.;1482.;1483.;1484.;1485.;1486.;1487.;1488.;1489.;1490.;1491.;1492.;1493.;1494.;1495.;1496.;1497.;1498.;1499.;1500.;1501.;1502.;1503.;1504.;1505.;1506.;1507.;1508.;1509.;1510.;1511.;1512.;1513.;1514.;1515.;1516.;1517.;1518.;1519.;1520.;1521.;1522.;1523.;1524.;1525.;1526.;1527.;1528.;1529.;1530.;1531.;1532.;1533.;1534.;1535.;1536.;1537.;1538.;1539.;1540.;1541.;1542.;1543.;1544.;1545.;1546.;1547.;1548.;1549.;1550.;1551.;1552.;1553.;1554.;1555.;1556.;1557.;1558.;1559.;1560.;1561.;1562.;1563.;1564.;1565.;1566.;1567.;1568.;1569.;1570.;1571.;1572.;1573.;1574.;1575.;1576.;1577.;1578.;1579.;1580.;1581.;1582.;1583.;1584.;1585.;1586.;1587.;1588.;1589.;1590.;1591.;1592.;1593.;1594.;1595.;1596.;1251.;1252.;1253.;1254.;1255.;1256.;1257.;1258.;1259.;1260.;1261.;1262.;1263.;1264.;1265.;1266.;1267.;1268.;1269.;1270.;1271.;1272.;1273.;1274.;1275.;1276.;1277.;1278.;1279.;1280.;1281.;1282.;1283.;1284.;1285.;1286.;1287.;1288.;1289.;1290.;1291.;1292.;1293.;1294.;1295.;1296.;1297.;1298.;1299.;1300.;1301.;1302.;1303.;1304.;1305.;1306.;1307.;1308.;1309.;1310.;1311.;1312.;1313.;1314.;1315.;1316.;1317.;1318.;1319.;1320.;1321.;1322.;1323.;1324.;1325.;1326.;1327.;1328.;1329.;1330.;1331.;1332.;1333.;1334.;1335.;1336.;1337.;1338.;1339.;1340.;1341.;1342.;1343.;1344.;1345.;1346.;1347.;1348.;1349.;1350.;1351.;1352.;1353.;1354.;1355.;1356.;1357.;1358.;1359.;1360.;1361.;1362.;1363.;1364.;1365.;1366.;1367.;1368.;1369.;1370.;1371.;1372.;1373.;1374.;1375.;1376.;1377.;1378.;1379.;1380.;1381.;1382.;1383.;1384.;1385.;1386.;1387.;1388.;1389.;1390.;1391.;1392.;1393.;1394.;1395.;1396.;1397.;1398.;1399.;1400.;1401.;1402.;1403.;1404.;1405.;1406.;1407.;1408.;398.;399.;400.;401.;402.;403.;404.;405.;406.;407.;408.;409.;410.;411.;412.;413.;414.;415.;416.;417.;418.;419.;420.;421.;422.;423.;424.;425.;426.;427.;428.;429.;430.;431.;432.;433.;434.;435.;436.;437.;438.;439.;440.;441.;442.;443.;444.;445.;446.;447.;448.;449.;450.;451.;452.;453.;454.;455.;456.;457.;458.;459.;460.;461.;462.;463.;464.;465.;466.;467.;468.;469.;470.;471.;472.;473.;474.;475.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15,87976"/>
  <p:tag name="TOP" val="139,6316"/>
  <p:tag name="BREITE" val="439,8494"/>
  <p:tag name="HOEHE" val="219,894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cF5S7rGjEWOiGe2mij2jg"/>
  <p:tag name="EASYCHECK" val=";ONGR;OWFC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2liwA2v1k.1t_eHwHAgXA"/>
  <p:tag name="EASYCHECK" val=";ONGR;OWF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TITLESLIDE" val="-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h5SfBlp3ECR60vE4Ic7gA"/>
  <p:tag name="EASYCHECK" val=";ONGR;OWFC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BAYwR7DTE2mcAsH.uzDWQ"/>
  <p:tag name="EASYCHECK" val=";ONGR;OWFC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NPkeC2N0SYYbKKZEHiug"/>
  <p:tag name="EASYCHECK" val=";ONGR;OWFC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b_2f0FajEOBenGOVIZqOg"/>
  <p:tag name="EASYCHECK" val=";ONGR;OWFC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DoMnz5KiU2TN54AacWRbQ"/>
  <p:tag name="EASYCHECK" val=";ONGR;OWFC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lFA8N9ANUW5smqwmfGJ3Q"/>
  <p:tag name="EASYCHECK" val=";ONGR;OWFC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7MPKguZhEqAVJqpZ.HFLQ"/>
  <p:tag name="EASYCHECK" val=";ONGR;OWFC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qh8DMXkY0a6XYRUz01x3g"/>
  <p:tag name="EASYCHECK" val=";ONGR;OWFC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DmthYdiWUWuLtdgw9._Mg"/>
  <p:tag name="EASYCHECK" val=";ONG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;OWF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NGR;OWFC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6WaRhYodUSqjND3mFiZ4Q"/>
  <p:tag name="EASYCHECK" val=";ONGR;OWFC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Cf7xxYBlUmsqIZQw0vxxg"/>
  <p:tag name="EASYCHECK" val=";ONGR;OWFC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oRBwmNfSk2uuncfePMdvg"/>
  <p:tag name="EASYCHECK" val=";ONGR;OWFC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ELokcUdX0mHlEIi0wg9Kw"/>
  <p:tag name="EASYCHECK" val=";ONGR;OWFC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q7bkK0BX0eOzTNmyVp.4g"/>
  <p:tag name="EASYCHECK" val=";ONGR;OWFC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UVKMii0_Uqy2sFmTFBRiQ"/>
  <p:tag name="EASYCHECK" val=";ONGR;OWFC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zG7c5j_1UOaVUrEverGFg"/>
  <p:tag name="EASYCHECK" val=";ONGR;OWFC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SkuhvZJzkKc86qP9qQJOw"/>
  <p:tag name="EASYCHECK" val=";ONGR;OWFC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A.52jY_dUG9PgtP_Pc05Q"/>
  <p:tag name="EASYCHECK" val=";ONGR;OWFC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18_04_23-20:01:57"/>
  <p:tag name="AGENDA" val="659405"/>
  <p:tag name="AGENDAHATSEITENZAHL" val="0"/>
  <p:tag name="AGENDATYP" val="1"/>
  <p:tag name="AGENDAPUNKT" val="1"/>
  <p:tag name="AGENDAFIRSTCHAPTER" val="1"/>
  <p:tag name="AGENDASHOW2NDLEVEL" val="0"/>
  <p:tag name="AGENDAEBENE" val="1"/>
  <p:tag name="AGENDASUMMARY" val="0"/>
  <p:tag name="AGENDAITEM" val="Kenndaten und Potentia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P_phha4mEamcoIyWuo3Og"/>
  <p:tag name="EASYCHECK" val=";ONGR;OWFC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y0UrEfXM0mmpznvQ_6cWA"/>
  <p:tag name="EASYCHECK" val=";ONGR;OWFC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YoxQpDKekiET4oPEffOVw"/>
  <p:tag name="EASYCHECK" val=";ONGR;OWFC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1L4ERUNP0OBhrl7VA5H7Q"/>
  <p:tag name="EASYCHECK" val=";ONGR;OWFC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QNvZDSci0Ce.rel7WLKpA"/>
  <p:tag name="EASYCHECK" val=";ONGR;OWFC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oB0y19c20.r18RHtG20rA"/>
  <p:tag name="EASYCHECK" val=";ONGR;OWFC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wIPEAPSWUqV_Ff_NUxoQg"/>
  <p:tag name="EASYCHECK" val=";ONGR;OWFC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2FusqGbO0y3zeFjNJNvhQ"/>
  <p:tag name="EASYCHECK" val=";ONGR;OWFC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EFTxefs_kWRosibl2SPgA"/>
  <p:tag name="EASYCHECK" val=";ONGR;OWFC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8Q_TlLEBEmlZiAFXrI3gw"/>
  <p:tag name="EASYCHECK" val=";ONGR;OWFC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OWS"/>
  <p:tag name="NOGROUP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dETe2qXNUij5k4.CUDqrQ"/>
  <p:tag name="EASYCHECK" val=";ONGR;OWFC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Tzsq9NPnUS2_CFouGyj2Q"/>
  <p:tag name="EASYCHECK" val=";ONGR;OWFC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SrNkhag6EaSGtWAX9lYuA"/>
  <p:tag name="EASYCHECK" val=";ONGR;OWFC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1m_PnDWhkmaN2OWgQe7GQ"/>
  <p:tag name="EASYCHECK" val=";ONGR;OWFC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MG7JMEpSEqpn4Sxn3cmug"/>
  <p:tag name="EASYCHECK" val=";ONGR;OWFC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1fRSBNcBU2q4lspzQsZaw"/>
  <p:tag name="EASYCHECK" val=";ONGR;OWFC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OGOSYNTtEWYOEWRZfCkFA"/>
  <p:tag name="EASYCHECK" val=";ONGR;OWFC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1K03XR47kulvfU1g_LRWg"/>
  <p:tag name="EASYCHECK" val=";ONGR;OWFC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vOlZVMyWUG7o9l3hCKPWQ"/>
  <p:tag name="EASYCHECK" val=";ONGR;OWFC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7EfE68QCE2PfBVLciN1wQ"/>
  <p:tag name="EASYCHECK" val=";ONGR;OWF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k__QtE5MEuQsNnqyLejSQ"/>
  <p:tag name="EASYCHECK" val=";ONGR;OWFC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J4Mkb3B.0q1_ZZM3bHdeA"/>
  <p:tag name="EASYCHECK" val=";ONGR;OWFC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v5CHAgWokiEO9Iu7ccv2A"/>
  <p:tag name="EASYCHECK" val=";ONGR;OWFC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OftgTTDfEWhOZpcPQ5tbw"/>
  <p:tag name="EASYCHECK" val=";ONGR;OWFC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A1B1Pe22UiGSAFMsKCkcA"/>
  <p:tag name="EASYCHECK" val=";ONGR;OWFC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iPa5OORpEaovTaXDmL22A"/>
  <p:tag name="EASYCHECK" val=";ONGR;OWFC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rqYlanUlk2QkICc0oBzbA"/>
  <p:tag name="EASYCHECK" val=";ONGR;OWFC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66I2KlXfUuVPmynBhoLZA"/>
  <p:tag name="EASYCHECK" val=";ONGR;OWFC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Y1dgNph90u.so5h6si_wg"/>
  <p:tag name="EASYCHECK" val=";ONGR;OWFC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Ll8OgTobUaBJ_t.sVd94A"/>
  <p:tag name="EASYCHECK" val=";ONGR;OWF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qP3m8eUq39dtEIJsWzw"/>
  <p:tag name="EASYCHECK" val=";ONGR;OWFC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yuA4SkvBkuSSqHvocFPXw"/>
  <p:tag name="EASYCHECK" val=";ONGR;OWFC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V90MWfFT0aZfeoeASdBqg"/>
  <p:tag name="EASYCHECK" val=";ONGR;OWFC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wNMi4KKyU6xTPYqyhCKPQ"/>
  <p:tag name="EASYCHECK" val=";ONGR;OWFC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lyzi.fnNkyzu3R3jHWTOA"/>
  <p:tag name="EASYCHECK" val=";ONGR;OWFC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nWUX6qoqkGNhO1Vt1ecSA"/>
  <p:tag name="EASYCHECK" val=";ONGR;OWFC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bIfvAmQOUScfVC_A2kjcQ"/>
  <p:tag name="EASYCHECK" val=";ONGR;OWFC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IPYKxdjlUyc4Yerf_LHMw"/>
  <p:tag name="EASYCHECK" val=";ONGR;OWFC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1rYYSdVGU6T5v.5cItAEQ"/>
  <p:tag name="EASYCHECK" val=";ONGR;OWFC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BtqanjNnEm_6rxA1aAKKg"/>
  <p:tag name="EASYCHECK" val=";ONGR;OWF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TWFS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4sFncYWG0mJIzUQWvzfCQ"/>
  <p:tag name="EASYCHECK" val=";ONGR;OWFC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MPFhObzTEmfvB0kBAq6iA"/>
  <p:tag name="EASYCHECK" val=";ONGR;OWFC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wdS3180qEqZ6ZXP9rPw"/>
  <p:tag name="EASYCHECK" val=";ONGR;OWFC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XYAMBTTJEGqtsNfTDCk8g"/>
  <p:tag name="EASYCHECK" val=";ONGR;OWFC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U7e8ABPRkaO6_NAvCcLWA"/>
  <p:tag name="EASYCHECK" val=";ONGR;OWFC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dENr0IS0kyA6.2LhwAe0A"/>
  <p:tag name="EASYCHECK" val=";ONGR;OWFC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_pLFRi97UyDjt56ZuSHXw"/>
  <p:tag name="EASYCHECK" val=";ONGR;OWFC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oopZv0REUqyWrzw4YxWvA"/>
  <p:tag name="EASYCHECK" val=";ONGR;OWFC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Ezdk.h.nUaFE75Wn9iBYA"/>
  <p:tag name="EASYCHECK" val=";ONGR;OWFC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iOP_eYc0KzYjenSscwqw"/>
  <p:tag name="EASYCHECK" val=";ONGR;OWFC"/>
</p:tagLst>
</file>

<file path=ppt/theme/theme1.xml><?xml version="1.0" encoding="utf-8"?>
<a:theme xmlns:a="http://schemas.openxmlformats.org/drawingml/2006/main" name="© DB 2016">
  <a:themeElements>
    <a:clrScheme name="DB_grau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DD2"/>
      </a:accent1>
      <a:accent2>
        <a:srgbClr val="878C96"/>
      </a:accent2>
      <a:accent3>
        <a:srgbClr val="E1E6EB"/>
      </a:accent3>
      <a:accent4>
        <a:srgbClr val="C8CDD2"/>
      </a:accent4>
      <a:accent5>
        <a:srgbClr val="646973"/>
      </a:accent5>
      <a:accent6>
        <a:srgbClr val="E1E6EB"/>
      </a:accent6>
      <a:hlink>
        <a:srgbClr val="646973"/>
      </a:hlink>
      <a:folHlink>
        <a:srgbClr val="C8CDD2"/>
      </a:folHlink>
    </a:clrScheme>
    <a:fontScheme name="DB_2010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72000" rIns="72000" bIns="7200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B Rot">
      <a:srgbClr val="FF0000"/>
    </a:custClr>
    <a:custClr name="DB Blau">
      <a:srgbClr val="000066"/>
    </a:custClr>
    <a:custClr name="DB Grau">
      <a:srgbClr val="878C96"/>
    </a:custClr>
    <a:custClr>
      <a:srgbClr val="FFFFFF"/>
    </a:custClr>
    <a:custClr name="Gelb">
      <a:srgbClr val="F0CD0A"/>
    </a:custClr>
    <a:custClr name="Verkehrsorange">
      <a:srgbClr val="E67800"/>
    </a:custClr>
    <a:custClr name="Gelbgrün">
      <a:srgbClr val="8CB90F"/>
    </a:custClr>
    <a:custClr name="Signalblau">
      <a:srgbClr val="004BB4"/>
    </a:custClr>
    <a:custClr>
      <a:srgbClr val="FFFFFF"/>
    </a:custClr>
    <a:custClr name="S-Bahn Grün (Sonderstatus)">
      <a:srgbClr val="408335"/>
    </a:custClr>
    <a:custClr name="Currygelb">
      <a:srgbClr val="918C23"/>
    </a:custClr>
    <a:custClr name="Orangebraun">
      <a:srgbClr val="8C5A00"/>
    </a:custClr>
    <a:custClr name="Rubinrot">
      <a:srgbClr val="962832"/>
    </a:custClr>
    <a:custClr name="Purpurviolett">
      <a:srgbClr val="4D186E"/>
    </a:custClr>
    <a:custClr name="Verkehrsblau">
      <a:srgbClr val="055573"/>
    </a:custClr>
    <a:custClr name="Opalgrün">
      <a:srgbClr val="286969"/>
    </a:custClr>
    <a:custClr name="Türkisgrün">
      <a:srgbClr val="286E46"/>
    </a:custClr>
    <a:custClr name="Farngrün">
      <a:srgbClr val="646E2D"/>
    </a:custClr>
    <a:custClr name="Weiß">
      <a:srgbClr val="FFFFFF"/>
    </a:custClr>
    <a:custClr name="Weiß">
      <a:srgbClr val="FFFFFF"/>
    </a:custClr>
    <a:custClr name="Gelb (Pastell)">
      <a:srgbClr val="FDF6B1"/>
    </a:custClr>
    <a:custClr name="Verkehrsorange (Pastell)">
      <a:srgbClr val="FCB76C"/>
    </a:custClr>
    <a:custClr name="Signalblau (Pastell)">
      <a:srgbClr val="BBCAEA"/>
    </a:custClr>
    <a:custClr name="Gelbgrün (Pastell)">
      <a:srgbClr val="DDEDB1"/>
    </a:custClr>
    <a:custClr name="Weiß">
      <a:srgbClr val="FFFFFF"/>
    </a:custClr>
    <a:custClr name="Weiß">
      <a:srgbClr val="FFFFFF"/>
    </a:custClr>
    <a:custClr name="DB Weißgrau">
      <a:srgbClr val="E1E6EB"/>
    </a:custClr>
    <a:custClr name="DB Hellgrau">
      <a:srgbClr val="C8CDD2"/>
    </a:custClr>
    <a:custClr name="DB Grau">
      <a:srgbClr val="878C96"/>
    </a:custClr>
    <a:custClr name="DB Dunkelgrau">
      <a:srgbClr val="646973"/>
    </a:custClr>
    <a:custClr>
      <a:srgbClr val="E6E6E6"/>
    </a:custClr>
    <a:custClr>
      <a:srgbClr val="CDCDCD"/>
    </a:custClr>
    <a:custClr>
      <a:srgbClr val="B4B4B4"/>
    </a:custClr>
    <a:custClr>
      <a:srgbClr val="9A9A9A"/>
    </a:custClr>
    <a:custClr>
      <a:srgbClr val="818181"/>
    </a:custClr>
    <a:custClr>
      <a:srgbClr val="666666"/>
    </a:custClr>
    <a:custClr>
      <a:srgbClr val="4B4B4B"/>
    </a:custClr>
    <a:custClr>
      <a:srgbClr val="303030"/>
    </a:custClr>
  </a:custClr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B_grau">
    <a:dk1>
      <a:srgbClr val="000000"/>
    </a:dk1>
    <a:lt1>
      <a:srgbClr val="FFFFFF"/>
    </a:lt1>
    <a:dk2>
      <a:srgbClr val="000000"/>
    </a:dk2>
    <a:lt2>
      <a:srgbClr val="878C96"/>
    </a:lt2>
    <a:accent1>
      <a:srgbClr val="C8CDD2"/>
    </a:accent1>
    <a:accent2>
      <a:srgbClr val="878C96"/>
    </a:accent2>
    <a:accent3>
      <a:srgbClr val="E1E6EB"/>
    </a:accent3>
    <a:accent4>
      <a:srgbClr val="C8CDD2"/>
    </a:accent4>
    <a:accent5>
      <a:srgbClr val="646973"/>
    </a:accent5>
    <a:accent6>
      <a:srgbClr val="E1E6EB"/>
    </a:accent6>
    <a:hlink>
      <a:srgbClr val="646973"/>
    </a:hlink>
    <a:folHlink>
      <a:srgbClr val="C8CDD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51</Words>
  <Application>Microsoft Office PowerPoint</Application>
  <PresentationFormat>Benutzerdefiniert</PresentationFormat>
  <Paragraphs>228</Paragraphs>
  <Slides>14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9" baseType="lpstr">
      <vt:lpstr>Arial</vt:lpstr>
      <vt:lpstr>DB Office</vt:lpstr>
      <vt:lpstr>DB Sans</vt:lpstr>
      <vt:lpstr>Wingdings</vt:lpstr>
      <vt:lpstr>© DB 2016</vt:lpstr>
      <vt:lpstr>PowerPoint-Präsentation</vt:lpstr>
      <vt:lpstr>Nový úsek tratě Drážďany – Praha Agenda</vt:lpstr>
      <vt:lpstr>Nový úsek tratě Drážďany – Praha Transevropská dopravní síť</vt:lpstr>
      <vt:lpstr>Železniční spojení mezi Drážďany a Prahou se nachází na evropském koridoru TEN-V Orient/Východo-středomořský. Ten spojuje německé přístavy Severního a Baltského moře  s ekonomickými centry  jihovýchodní Evropy.</vt:lpstr>
      <vt:lpstr>Nový úsek tratě Drážďany – Praha  Charakteristika</vt:lpstr>
      <vt:lpstr>Nový úsek tratě Drážďany – Praha Agenda</vt:lpstr>
      <vt:lpstr>Nový úsek tratě Drážďany – Praha  Územní řízení (ROV)</vt:lpstr>
      <vt:lpstr>Nový úsek tratě Drážďany – Praha  Územní řízení</vt:lpstr>
      <vt:lpstr>Nový úsek tratě Drážďany – Praha Agenda</vt:lpstr>
      <vt:lpstr>Nový úsek tratě Drážďany – Praha - První výsledky předběžného šetření</vt:lpstr>
      <vt:lpstr>Provozní program EBWU odpovídá  odsouhlasenému počtu vlaků (scénář „vyměřovací základ“)</vt:lpstr>
      <vt:lpstr>Nový úsek tratě Drážďany – Praha Agenda</vt:lpstr>
      <vt:lpstr>Otevřené otázky a další kroky v roce 2020</vt:lpstr>
      <vt:lpstr>PowerPoint-Präsentation</vt:lpstr>
    </vt:vector>
  </TitlesOfParts>
  <Company>DB Netz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htagung</dc:title>
  <dc:subject>gsdg</dc:subject>
  <dc:creator>Dr. Marcus Schenkel</dc:creator>
  <cp:lastModifiedBy>Linda Wanot-Waszak</cp:lastModifiedBy>
  <cp:revision>99</cp:revision>
  <cp:lastPrinted>2015-08-04T09:23:29Z</cp:lastPrinted>
  <dcterms:created xsi:type="dcterms:W3CDTF">2019-05-13T11:13:10Z</dcterms:created>
  <dcterms:modified xsi:type="dcterms:W3CDTF">2019-11-22T12:0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w_title">
    <vt:lpwstr>Fachtagung</vt:lpwstr>
  </property>
  <property fmtid="{D5CDD505-2E9C-101B-9397-08002B2CF9AE}" pid="3" name="tw_theme">
    <vt:lpwstr>gsdg</vt:lpwstr>
  </property>
  <property fmtid="{D5CDD505-2E9C-101B-9397-08002B2CF9AE}" pid="4" name="tw_company">
    <vt:lpwstr>DB Netz AG</vt:lpwstr>
  </property>
  <property fmtid="{D5CDD505-2E9C-101B-9397-08002B2CF9AE}" pid="5" name="tw_unit">
    <vt:lpwstr>I.NG-SO</vt:lpwstr>
  </property>
  <property fmtid="{D5CDD505-2E9C-101B-9397-08002B2CF9AE}" pid="6" name="tw_speaker">
    <vt:lpwstr>Dr. Marcus Schenkel</vt:lpwstr>
  </property>
  <property fmtid="{D5CDD505-2E9C-101B-9397-08002B2CF9AE}" pid="7" name="tw_function">
    <vt:lpwstr>Regionalbereichsleitung</vt:lpwstr>
  </property>
  <property fmtid="{D5CDD505-2E9C-101B-9397-08002B2CF9AE}" pid="8" name="tw_location">
    <vt:lpwstr>...</vt:lpwstr>
  </property>
  <property fmtid="{D5CDD505-2E9C-101B-9397-08002B2CF9AE}" pid="9" name="tw_date">
    <vt:lpwstr>13.05.2019</vt:lpwstr>
  </property>
  <property fmtid="{D5CDD505-2E9C-101B-9397-08002B2CF9AE}" pid="10" name="tw_Agenda_1">
    <vt:lpwstr/>
  </property>
  <property fmtid="{D5CDD505-2E9C-101B-9397-08002B2CF9AE}" pid="11" name="tw_Agenda_2">
    <vt:lpwstr/>
  </property>
  <property fmtid="{D5CDD505-2E9C-101B-9397-08002B2CF9AE}" pid="12" name="tw_Agenda_3">
    <vt:lpwstr/>
  </property>
  <property fmtid="{D5CDD505-2E9C-101B-9397-08002B2CF9AE}" pid="13" name="tw_Agenda_4">
    <vt:lpwstr/>
  </property>
  <property fmtid="{D5CDD505-2E9C-101B-9397-08002B2CF9AE}" pid="14" name="tw_Agenda_5">
    <vt:lpwstr/>
  </property>
  <property fmtid="{D5CDD505-2E9C-101B-9397-08002B2CF9AE}" pid="15" name="tw_Agenda_6">
    <vt:lpwstr/>
  </property>
  <property fmtid="{D5CDD505-2E9C-101B-9397-08002B2CF9AE}" pid="16" name="tw_Agenda_7">
    <vt:lpwstr/>
  </property>
  <property fmtid="{D5CDD505-2E9C-101B-9397-08002B2CF9AE}" pid="17" name="tw_Agenda_8">
    <vt:lpwstr/>
  </property>
  <property fmtid="{D5CDD505-2E9C-101B-9397-08002B2CF9AE}" pid="18" name="tw_cover_word">
    <vt:lpwstr/>
  </property>
</Properties>
</file>